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1" r:id="rId3"/>
  </p:sldMasterIdLst>
  <p:notesMasterIdLst>
    <p:notesMasterId r:id="rId19"/>
  </p:notesMasterIdLst>
  <p:handoutMasterIdLst>
    <p:handoutMasterId r:id="rId20"/>
  </p:handoutMasterIdLst>
  <p:sldIdLst>
    <p:sldId id="266" r:id="rId4"/>
    <p:sldId id="258" r:id="rId5"/>
    <p:sldId id="259" r:id="rId6"/>
    <p:sldId id="260" r:id="rId7"/>
    <p:sldId id="261" r:id="rId8"/>
    <p:sldId id="257" r:id="rId9"/>
    <p:sldId id="262" r:id="rId10"/>
    <p:sldId id="267" r:id="rId11"/>
    <p:sldId id="268" r:id="rId12"/>
    <p:sldId id="270" r:id="rId13"/>
    <p:sldId id="272" r:id="rId14"/>
    <p:sldId id="273" r:id="rId15"/>
    <p:sldId id="274" r:id="rId16"/>
    <p:sldId id="275" r:id="rId17"/>
    <p:sldId id="276" r:id="rId18"/>
  </p:sldIdLst>
  <p:sldSz cx="9144000" cy="6858000" type="screen4x3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4588" autoAdjust="0"/>
    <p:restoredTop sz="86358" autoAdjust="0"/>
  </p:normalViewPr>
  <p:slideViewPr>
    <p:cSldViewPr>
      <p:cViewPr varScale="1">
        <p:scale>
          <a:sx n="74" d="100"/>
          <a:sy n="74" d="100"/>
        </p:scale>
        <p:origin x="690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372" y="42042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94" d="100"/>
          <a:sy n="94" d="100"/>
        </p:scale>
        <p:origin x="-3018" y="-10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A18AC4-0A2A-4768-87B4-165CBBB04887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4F09B9-1BD3-4A60-938C-AF73E634FD0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374095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C68EDE-B156-4FF1-A1A0-B10176ADFC9D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229680-413C-43DB-9C58-28A915129FD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834864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8F04A-84B0-4E5D-A1A7-EE43D6EF2A66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635066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229680-413C-43DB-9C58-28A915129FDC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882675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1371600" y="1143000"/>
            <a:ext cx="41148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38F04A-84B0-4E5D-A1A7-EE43D6EF2A66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284516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microsoft.com/office/2007/relationships/hdphoto" Target="../media/hdphoto5.wdp"/><Relationship Id="rId18" Type="http://schemas.openxmlformats.org/officeDocument/2006/relationships/image" Target="../media/image19.png"/><Relationship Id="rId3" Type="http://schemas.openxmlformats.org/officeDocument/2006/relationships/slideMaster" Target="../slideMasters/slideMaster2.xml"/><Relationship Id="rId7" Type="http://schemas.microsoft.com/office/2007/relationships/hdphoto" Target="../media/hdphoto2.wdp"/><Relationship Id="rId12" Type="http://schemas.openxmlformats.org/officeDocument/2006/relationships/image" Target="../media/image15.png"/><Relationship Id="rId17" Type="http://schemas.openxmlformats.org/officeDocument/2006/relationships/image" Target="../media/image18.jpeg"/><Relationship Id="rId2" Type="http://schemas.openxmlformats.org/officeDocument/2006/relationships/tags" Target="../tags/tag4.xml"/><Relationship Id="rId16" Type="http://schemas.microsoft.com/office/2007/relationships/hdphoto" Target="../media/hdphoto6.wdp"/><Relationship Id="rId20" Type="http://schemas.openxmlformats.org/officeDocument/2006/relationships/image" Target="../media/image21.png"/><Relationship Id="rId1" Type="http://schemas.openxmlformats.org/officeDocument/2006/relationships/tags" Target="../tags/tag3.xml"/><Relationship Id="rId6" Type="http://schemas.openxmlformats.org/officeDocument/2006/relationships/image" Target="../media/image12.png"/><Relationship Id="rId11" Type="http://schemas.microsoft.com/office/2007/relationships/hdphoto" Target="../media/hdphoto4.wdp"/><Relationship Id="rId5" Type="http://schemas.microsoft.com/office/2007/relationships/hdphoto" Target="../media/hdphoto1.wdp"/><Relationship Id="rId15" Type="http://schemas.openxmlformats.org/officeDocument/2006/relationships/image" Target="../media/image17.png"/><Relationship Id="rId10" Type="http://schemas.openxmlformats.org/officeDocument/2006/relationships/image" Target="../media/image14.png"/><Relationship Id="rId19" Type="http://schemas.openxmlformats.org/officeDocument/2006/relationships/image" Target="../media/image20.png"/><Relationship Id="rId4" Type="http://schemas.openxmlformats.org/officeDocument/2006/relationships/image" Target="../media/image11.png"/><Relationship Id="rId9" Type="http://schemas.microsoft.com/office/2007/relationships/hdphoto" Target="../media/hdphoto3.wdp"/><Relationship Id="rId14" Type="http://schemas.openxmlformats.org/officeDocument/2006/relationships/image" Target="../media/image16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slideMaster" Target="../slideMasters/slideMaster3.xml"/><Relationship Id="rId5" Type="http://schemas.openxmlformats.org/officeDocument/2006/relationships/tags" Target="../tags/tag11.xml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/>
        </p:nvPicPr>
        <p:blipFill>
          <a:blip r:embed="rId2" cstate="print">
            <a:duotone>
              <a:schemeClr val="bg2"/>
              <a:srgbClr val="FFF1C1"/>
            </a:duotone>
            <a:lum bright="-10000" contrast="-40000"/>
          </a:blip>
          <a:stretch>
            <a:fillRect/>
          </a:stretch>
        </p:blipFill>
        <p:spPr>
          <a:xfrm>
            <a:off x="1" y="5214950"/>
            <a:ext cx="1472173" cy="164305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214422"/>
            <a:ext cx="7772400" cy="1470025"/>
          </a:xfrm>
        </p:spPr>
        <p:txBody>
          <a:bodyPr/>
          <a:lstStyle>
            <a:lvl1pPr algn="ctr">
              <a:defRPr sz="4800"/>
            </a:lvl1pPr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1733" y="2759581"/>
            <a:ext cx="6100534" cy="1740989"/>
          </a:xfrm>
        </p:spPr>
        <p:txBody>
          <a:bodyPr anchor="t"/>
          <a:lstStyle>
            <a:lvl1pPr marL="0" indent="0" algn="ctr">
              <a:buNone/>
              <a:defRPr lang="zh-CN" altLang="en-US" dirty="0">
                <a:effectLst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0" lang="zh-CN" altLang="en-US" smtClean="0"/>
              <a:t>单击此处编辑母版副标题样式</a:t>
            </a:r>
            <a:endParaRPr kumimoji="0" 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D0685E-ACB2-482E-9BA0-496CB38D2D1F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6FDA90-F39A-4D51-A381-0125970886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0" y="0"/>
            <a:ext cx="669600" cy="6858000"/>
          </a:xfrm>
          <a:prstGeom prst="rect">
            <a:avLst/>
          </a:prstGeom>
          <a:blipFill>
            <a:blip r:embed="rId2" cstate="print">
              <a:alphaModFix amt="40000"/>
            </a:blip>
            <a:tile tx="0" ty="0" sx="50000" sy="50000" flip="x" algn="tl"/>
          </a:blip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/>
            </a:lvl1pPr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500176"/>
            <a:ext cx="8229600" cy="4714907"/>
          </a:xfrm>
        </p:spPr>
        <p:txBody>
          <a:bodyPr vert="eaVert"/>
          <a:lstStyle/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D0685E-ACB2-482E-9BA0-496CB38D2D1F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6FDA90-F39A-4D51-A381-012597088676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 cstate="print">
            <a:duotone>
              <a:schemeClr val="bg2"/>
              <a:srgbClr val="FFF1C1"/>
            </a:duotone>
          </a:blip>
          <a:stretch>
            <a:fillRect/>
          </a:stretch>
        </p:blipFill>
        <p:spPr>
          <a:xfrm>
            <a:off x="8135907" y="0"/>
            <a:ext cx="1008093" cy="142873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0" y="0"/>
            <a:ext cx="669600" cy="6858000"/>
          </a:xfrm>
          <a:prstGeom prst="rect">
            <a:avLst/>
          </a:prstGeom>
          <a:blipFill>
            <a:blip r:embed="rId2" cstate="print">
              <a:alphaModFix amt="40000"/>
            </a:blip>
            <a:tile tx="0" ty="0" sx="50000" sy="50000" flip="x" algn="tl"/>
          </a:blip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zh-CN" altLang="en-US"/>
          </a:p>
        </p:txBody>
      </p:sp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7286644" y="274638"/>
            <a:ext cx="1400156" cy="5940444"/>
          </a:xfrm>
        </p:spPr>
        <p:txBody>
          <a:bodyPr vert="eaVert"/>
          <a:lstStyle>
            <a:lvl1pPr algn="ctr">
              <a:defRPr>
                <a:effectLst>
                  <a:outerShdw dist="50800" dir="18900000" algn="tl" rotWithShape="0">
                    <a:srgbClr val="000000">
                      <a:alpha val="75000"/>
                    </a:srgbClr>
                  </a:outerShdw>
                </a:effectLst>
              </a:defRPr>
            </a:lvl1pPr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758006" cy="5940444"/>
          </a:xfrm>
        </p:spPr>
        <p:txBody>
          <a:bodyPr vert="eaVert"/>
          <a:lstStyle/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D0685E-ACB2-482E-9BA0-496CB38D2D1F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6FDA90-F39A-4D51-A381-012597088676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 cstate="print">
            <a:duotone>
              <a:schemeClr val="bg2"/>
              <a:srgbClr val="FFF1C1"/>
            </a:duotone>
          </a:blip>
          <a:stretch>
            <a:fillRect/>
          </a:stretch>
        </p:blipFill>
        <p:spPr>
          <a:xfrm>
            <a:off x="8135907" y="0"/>
            <a:ext cx="1008093" cy="142873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直接连接符 19"/>
          <p:cNvCxnSpPr/>
          <p:nvPr/>
        </p:nvCxnSpPr>
        <p:spPr>
          <a:xfrm>
            <a:off x="1692000" y="4778703"/>
            <a:ext cx="5760000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/>
          <p:cNvCxnSpPr/>
          <p:nvPr/>
        </p:nvCxnSpPr>
        <p:spPr>
          <a:xfrm>
            <a:off x="1692000" y="5578709"/>
            <a:ext cx="5760000" cy="0"/>
          </a:xfrm>
          <a:prstGeom prst="line">
            <a:avLst/>
          </a:prstGeom>
          <a:ln w="31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371600" y="4818630"/>
            <a:ext cx="6400800" cy="715338"/>
          </a:xfrm>
        </p:spPr>
        <p:txBody>
          <a:bodyPr>
            <a:normAutofit/>
          </a:bodyPr>
          <a:lstStyle>
            <a:lvl1pPr algn="ctr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5601088"/>
            <a:ext cx="6400800" cy="576566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 smtClean="0"/>
              <a:t>单击此处编辑母版副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grpSp>
        <p:nvGrpSpPr>
          <p:cNvPr id="25" name="组合 24"/>
          <p:cNvGrpSpPr/>
          <p:nvPr/>
        </p:nvGrpSpPr>
        <p:grpSpPr>
          <a:xfrm>
            <a:off x="4788024" y="3612410"/>
            <a:ext cx="1008112" cy="1008112"/>
            <a:chOff x="6336104" y="4221088"/>
            <a:chExt cx="1008112" cy="1008112"/>
          </a:xfrm>
        </p:grpSpPr>
        <p:sp>
          <p:nvSpPr>
            <p:cNvPr id="26" name="椭圆 25"/>
            <p:cNvSpPr/>
            <p:nvPr/>
          </p:nvSpPr>
          <p:spPr>
            <a:xfrm>
              <a:off x="6336104" y="4221088"/>
              <a:ext cx="1008112" cy="100811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pic>
          <p:nvPicPr>
            <p:cNvPr id="27" name="图片 2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443885" y="4328869"/>
              <a:ext cx="792549" cy="792549"/>
            </a:xfrm>
            <a:prstGeom prst="rect">
              <a:avLst/>
            </a:prstGeom>
          </p:spPr>
        </p:pic>
      </p:grpSp>
      <p:grpSp>
        <p:nvGrpSpPr>
          <p:cNvPr id="28" name="组合 27"/>
          <p:cNvGrpSpPr/>
          <p:nvPr/>
        </p:nvGrpSpPr>
        <p:grpSpPr>
          <a:xfrm>
            <a:off x="6216144" y="3612410"/>
            <a:ext cx="1008112" cy="1008112"/>
            <a:chOff x="7764224" y="4221088"/>
            <a:chExt cx="1008112" cy="1008112"/>
          </a:xfrm>
        </p:grpSpPr>
        <p:sp>
          <p:nvSpPr>
            <p:cNvPr id="29" name="椭圆 28"/>
            <p:cNvSpPr/>
            <p:nvPr/>
          </p:nvSpPr>
          <p:spPr>
            <a:xfrm>
              <a:off x="7764224" y="4221088"/>
              <a:ext cx="1008112" cy="1008112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pic>
          <p:nvPicPr>
            <p:cNvPr id="30" name="图片 2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962332" y="4419196"/>
              <a:ext cx="611896" cy="611896"/>
            </a:xfrm>
            <a:prstGeom prst="rect">
              <a:avLst/>
            </a:prstGeom>
          </p:spPr>
        </p:pic>
      </p:grpSp>
      <p:grpSp>
        <p:nvGrpSpPr>
          <p:cNvPr id="31" name="组合 30"/>
          <p:cNvGrpSpPr/>
          <p:nvPr/>
        </p:nvGrpSpPr>
        <p:grpSpPr>
          <a:xfrm>
            <a:off x="1895664" y="3612410"/>
            <a:ext cx="1008112" cy="1008112"/>
            <a:chOff x="3443744" y="4221088"/>
            <a:chExt cx="1008112" cy="1008112"/>
          </a:xfrm>
        </p:grpSpPr>
        <p:sp>
          <p:nvSpPr>
            <p:cNvPr id="32" name="椭圆 31"/>
            <p:cNvSpPr/>
            <p:nvPr/>
          </p:nvSpPr>
          <p:spPr>
            <a:xfrm>
              <a:off x="3443744" y="4221088"/>
              <a:ext cx="1008112" cy="100811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pic>
          <p:nvPicPr>
            <p:cNvPr id="33" name="图片 3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700890" y="4386784"/>
              <a:ext cx="493819" cy="676715"/>
            </a:xfrm>
            <a:prstGeom prst="rect">
              <a:avLst/>
            </a:prstGeom>
          </p:spPr>
        </p:pic>
      </p:grpSp>
      <p:grpSp>
        <p:nvGrpSpPr>
          <p:cNvPr id="34" name="组合 33"/>
          <p:cNvGrpSpPr/>
          <p:nvPr/>
        </p:nvGrpSpPr>
        <p:grpSpPr>
          <a:xfrm>
            <a:off x="3323784" y="3612410"/>
            <a:ext cx="1008112" cy="1008112"/>
            <a:chOff x="4871864" y="4221088"/>
            <a:chExt cx="1008112" cy="1008112"/>
          </a:xfrm>
        </p:grpSpPr>
        <p:sp>
          <p:nvSpPr>
            <p:cNvPr id="35" name="椭圆 34"/>
            <p:cNvSpPr/>
            <p:nvPr/>
          </p:nvSpPr>
          <p:spPr>
            <a:xfrm>
              <a:off x="4871864" y="4221088"/>
              <a:ext cx="1008112" cy="100811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pic>
          <p:nvPicPr>
            <p:cNvPr id="36" name="图片 3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010128" y="4359351"/>
              <a:ext cx="731583" cy="731583"/>
            </a:xfrm>
            <a:prstGeom prst="rect">
              <a:avLst/>
            </a:prstGeom>
          </p:spPr>
        </p:pic>
      </p:grpSp>
      <p:sp>
        <p:nvSpPr>
          <p:cNvPr id="37" name="文本框 36"/>
          <p:cNvSpPr txBox="1"/>
          <p:nvPr/>
        </p:nvSpPr>
        <p:spPr>
          <a:xfrm>
            <a:off x="1655676" y="732875"/>
            <a:ext cx="5832648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600" dirty="0" smtClean="0">
                <a:gradFill>
                  <a:gsLst>
                    <a:gs pos="0">
                      <a:schemeClr val="accent1"/>
                    </a:gs>
                    <a:gs pos="36000">
                      <a:schemeClr val="accent2"/>
                    </a:gs>
                    <a:gs pos="70000">
                      <a:schemeClr val="accent3"/>
                    </a:gs>
                    <a:gs pos="100000">
                      <a:schemeClr val="accent4"/>
                    </a:gs>
                  </a:gsLst>
                  <a:lin ang="0" scaled="0"/>
                </a:gradFill>
                <a:latin typeface="Broadway" pitchFamily="82" charset="0"/>
              </a:rPr>
              <a:t>2016</a:t>
            </a:r>
            <a:endParaRPr lang="zh-CN" altLang="en-US" sz="16600" dirty="0">
              <a:gradFill>
                <a:gsLst>
                  <a:gs pos="0">
                    <a:schemeClr val="accent1"/>
                  </a:gs>
                  <a:gs pos="36000">
                    <a:schemeClr val="accent2"/>
                  </a:gs>
                  <a:gs pos="70000">
                    <a:schemeClr val="accent3"/>
                  </a:gs>
                  <a:gs pos="100000">
                    <a:schemeClr val="accent4"/>
                  </a:gs>
                </a:gsLst>
                <a:lin ang="0" scaled="0"/>
              </a:gradFill>
              <a:latin typeface="Broadway" pitchFamily="8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8" name="内容占位符 7"/>
          <p:cNvSpPr>
            <a:spLocks noGrp="1"/>
          </p:cNvSpPr>
          <p:nvPr>
            <p:ph sz="quarter" idx="13"/>
          </p:nvPr>
        </p:nvSpPr>
        <p:spPr>
          <a:xfrm>
            <a:off x="457200" y="949325"/>
            <a:ext cx="8229600" cy="5299075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3001107" y="4360255"/>
            <a:ext cx="4783015" cy="722945"/>
          </a:xfrm>
          <a:solidFill>
            <a:schemeClr val="accent2"/>
          </a:solidFill>
        </p:spPr>
        <p:txBody>
          <a:bodyPr anchor="t">
            <a:normAutofit/>
          </a:bodyPr>
          <a:lstStyle>
            <a:lvl1pPr algn="ctr">
              <a:defRPr sz="4000" b="0" cap="all"/>
            </a:lvl1pPr>
          </a:lstStyle>
          <a:p>
            <a:r>
              <a:rPr lang="zh-CN" altLang="en-US" dirty="0" smtClean="0"/>
              <a:t>单击此处编辑标题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3001108" y="5158800"/>
            <a:ext cx="4783014" cy="586018"/>
          </a:xfrm>
          <a:noFill/>
        </p:spPr>
        <p:txBody>
          <a:bodyPr anchor="ctr" anchorCtr="0"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 smtClean="0"/>
              <a:t>单击此处编辑副标题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grpSp>
        <p:nvGrpSpPr>
          <p:cNvPr id="27" name="组合 26"/>
          <p:cNvGrpSpPr/>
          <p:nvPr/>
        </p:nvGrpSpPr>
        <p:grpSpPr>
          <a:xfrm>
            <a:off x="1025250" y="1004194"/>
            <a:ext cx="1612485" cy="4740624"/>
            <a:chOff x="3314423" y="673100"/>
            <a:chExt cx="1103590" cy="2500313"/>
          </a:xfrm>
          <a:solidFill>
            <a:schemeClr val="accent1"/>
          </a:solidFill>
        </p:grpSpPr>
        <p:sp>
          <p:nvSpPr>
            <p:cNvPr id="28" name="Freeform 33"/>
            <p:cNvSpPr/>
            <p:nvPr/>
          </p:nvSpPr>
          <p:spPr bwMode="auto">
            <a:xfrm>
              <a:off x="3797300" y="3043238"/>
              <a:ext cx="595313" cy="130175"/>
            </a:xfrm>
            <a:custGeom>
              <a:avLst/>
              <a:gdLst>
                <a:gd name="T0" fmla="*/ 2 w 203"/>
                <a:gd name="T1" fmla="*/ 38 h 44"/>
                <a:gd name="T2" fmla="*/ 140 w 203"/>
                <a:gd name="T3" fmla="*/ 36 h 44"/>
                <a:gd name="T4" fmla="*/ 203 w 203"/>
                <a:gd name="T5" fmla="*/ 0 h 44"/>
                <a:gd name="T6" fmla="*/ 61 w 203"/>
                <a:gd name="T7" fmla="*/ 11 h 44"/>
                <a:gd name="T8" fmla="*/ 0 w 203"/>
                <a:gd name="T9" fmla="*/ 38 h 44"/>
                <a:gd name="T10" fmla="*/ 2 w 203"/>
                <a:gd name="T11" fmla="*/ 38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3" h="44">
                  <a:moveTo>
                    <a:pt x="2" y="38"/>
                  </a:moveTo>
                  <a:cubicBezTo>
                    <a:pt x="48" y="27"/>
                    <a:pt x="95" y="44"/>
                    <a:pt x="140" y="36"/>
                  </a:cubicBezTo>
                  <a:cubicBezTo>
                    <a:pt x="167" y="27"/>
                    <a:pt x="185" y="20"/>
                    <a:pt x="203" y="0"/>
                  </a:cubicBezTo>
                  <a:cubicBezTo>
                    <a:pt x="159" y="23"/>
                    <a:pt x="110" y="8"/>
                    <a:pt x="61" y="11"/>
                  </a:cubicBezTo>
                  <a:cubicBezTo>
                    <a:pt x="35" y="11"/>
                    <a:pt x="15" y="19"/>
                    <a:pt x="0" y="38"/>
                  </a:cubicBezTo>
                  <a:cubicBezTo>
                    <a:pt x="2" y="38"/>
                    <a:pt x="2" y="38"/>
                    <a:pt x="2" y="3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29" name="Freeform 34"/>
            <p:cNvSpPr/>
            <p:nvPr/>
          </p:nvSpPr>
          <p:spPr bwMode="auto">
            <a:xfrm>
              <a:off x="3759200" y="2851150"/>
              <a:ext cx="615950" cy="257175"/>
            </a:xfrm>
            <a:custGeom>
              <a:avLst/>
              <a:gdLst>
                <a:gd name="T0" fmla="*/ 4 w 210"/>
                <a:gd name="T1" fmla="*/ 77 h 88"/>
                <a:gd name="T2" fmla="*/ 182 w 210"/>
                <a:gd name="T3" fmla="*/ 38 h 88"/>
                <a:gd name="T4" fmla="*/ 210 w 210"/>
                <a:gd name="T5" fmla="*/ 6 h 88"/>
                <a:gd name="T6" fmla="*/ 8 w 210"/>
                <a:gd name="T7" fmla="*/ 63 h 88"/>
                <a:gd name="T8" fmla="*/ 0 w 210"/>
                <a:gd name="T9" fmla="*/ 75 h 88"/>
                <a:gd name="T10" fmla="*/ 4 w 210"/>
                <a:gd name="T11" fmla="*/ 7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0" h="88">
                  <a:moveTo>
                    <a:pt x="4" y="77"/>
                  </a:moveTo>
                  <a:cubicBezTo>
                    <a:pt x="53" y="41"/>
                    <a:pt x="136" y="88"/>
                    <a:pt x="182" y="38"/>
                  </a:cubicBezTo>
                  <a:cubicBezTo>
                    <a:pt x="196" y="27"/>
                    <a:pt x="203" y="16"/>
                    <a:pt x="210" y="6"/>
                  </a:cubicBezTo>
                  <a:cubicBezTo>
                    <a:pt x="159" y="69"/>
                    <a:pt x="59" y="0"/>
                    <a:pt x="8" y="63"/>
                  </a:cubicBezTo>
                  <a:cubicBezTo>
                    <a:pt x="5" y="67"/>
                    <a:pt x="0" y="70"/>
                    <a:pt x="0" y="75"/>
                  </a:cubicBezTo>
                  <a:cubicBezTo>
                    <a:pt x="0" y="77"/>
                    <a:pt x="2" y="78"/>
                    <a:pt x="4" y="77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0" name="Freeform 35"/>
            <p:cNvSpPr/>
            <p:nvPr/>
          </p:nvSpPr>
          <p:spPr bwMode="auto">
            <a:xfrm>
              <a:off x="3770313" y="2794000"/>
              <a:ext cx="563563" cy="123825"/>
            </a:xfrm>
            <a:custGeom>
              <a:avLst/>
              <a:gdLst>
                <a:gd name="T0" fmla="*/ 4 w 192"/>
                <a:gd name="T1" fmla="*/ 39 h 42"/>
                <a:gd name="T2" fmla="*/ 98 w 192"/>
                <a:gd name="T3" fmla="*/ 35 h 42"/>
                <a:gd name="T4" fmla="*/ 138 w 192"/>
                <a:gd name="T5" fmla="*/ 31 h 42"/>
                <a:gd name="T6" fmla="*/ 192 w 192"/>
                <a:gd name="T7" fmla="*/ 0 h 42"/>
                <a:gd name="T8" fmla="*/ 63 w 192"/>
                <a:gd name="T9" fmla="*/ 6 h 42"/>
                <a:gd name="T10" fmla="*/ 9 w 192"/>
                <a:gd name="T11" fmla="*/ 23 h 42"/>
                <a:gd name="T12" fmla="*/ 0 w 192"/>
                <a:gd name="T13" fmla="*/ 37 h 42"/>
                <a:gd name="T14" fmla="*/ 4 w 192"/>
                <a:gd name="T15" fmla="*/ 39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2" h="42">
                  <a:moveTo>
                    <a:pt x="4" y="39"/>
                  </a:moveTo>
                  <a:cubicBezTo>
                    <a:pt x="33" y="24"/>
                    <a:pt x="67" y="39"/>
                    <a:pt x="98" y="35"/>
                  </a:cubicBezTo>
                  <a:cubicBezTo>
                    <a:pt x="112" y="37"/>
                    <a:pt x="125" y="33"/>
                    <a:pt x="138" y="31"/>
                  </a:cubicBezTo>
                  <a:cubicBezTo>
                    <a:pt x="160" y="21"/>
                    <a:pt x="178" y="16"/>
                    <a:pt x="192" y="0"/>
                  </a:cubicBezTo>
                  <a:cubicBezTo>
                    <a:pt x="151" y="19"/>
                    <a:pt x="106" y="6"/>
                    <a:pt x="63" y="6"/>
                  </a:cubicBezTo>
                  <a:cubicBezTo>
                    <a:pt x="41" y="4"/>
                    <a:pt x="24" y="13"/>
                    <a:pt x="9" y="23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0" y="42"/>
                    <a:pt x="4" y="3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1" name="Freeform 36"/>
            <p:cNvSpPr/>
            <p:nvPr/>
          </p:nvSpPr>
          <p:spPr bwMode="auto">
            <a:xfrm>
              <a:off x="3914775" y="2603500"/>
              <a:ext cx="503238" cy="165100"/>
            </a:xfrm>
            <a:custGeom>
              <a:avLst/>
              <a:gdLst>
                <a:gd name="T0" fmla="*/ 75 w 172"/>
                <a:gd name="T1" fmla="*/ 56 h 56"/>
                <a:gd name="T2" fmla="*/ 155 w 172"/>
                <a:gd name="T3" fmla="*/ 32 h 56"/>
                <a:gd name="T4" fmla="*/ 172 w 172"/>
                <a:gd name="T5" fmla="*/ 15 h 56"/>
                <a:gd name="T6" fmla="*/ 153 w 172"/>
                <a:gd name="T7" fmla="*/ 0 h 56"/>
                <a:gd name="T8" fmla="*/ 0 w 172"/>
                <a:gd name="T9" fmla="*/ 47 h 56"/>
                <a:gd name="T10" fmla="*/ 75 w 172"/>
                <a:gd name="T11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2" h="56">
                  <a:moveTo>
                    <a:pt x="75" y="56"/>
                  </a:moveTo>
                  <a:cubicBezTo>
                    <a:pt x="103" y="53"/>
                    <a:pt x="133" y="47"/>
                    <a:pt x="155" y="32"/>
                  </a:cubicBezTo>
                  <a:cubicBezTo>
                    <a:pt x="161" y="28"/>
                    <a:pt x="169" y="22"/>
                    <a:pt x="172" y="15"/>
                  </a:cubicBezTo>
                  <a:cubicBezTo>
                    <a:pt x="153" y="0"/>
                    <a:pt x="153" y="0"/>
                    <a:pt x="153" y="0"/>
                  </a:cubicBezTo>
                  <a:cubicBezTo>
                    <a:pt x="112" y="34"/>
                    <a:pt x="57" y="47"/>
                    <a:pt x="0" y="47"/>
                  </a:cubicBezTo>
                  <a:cubicBezTo>
                    <a:pt x="75" y="56"/>
                    <a:pt x="75" y="56"/>
                    <a:pt x="75" y="56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2" name="Freeform 37"/>
            <p:cNvSpPr/>
            <p:nvPr/>
          </p:nvSpPr>
          <p:spPr bwMode="auto">
            <a:xfrm>
              <a:off x="3805238" y="2446338"/>
              <a:ext cx="595313" cy="233362"/>
            </a:xfrm>
            <a:custGeom>
              <a:avLst/>
              <a:gdLst>
                <a:gd name="T0" fmla="*/ 1 w 203"/>
                <a:gd name="T1" fmla="*/ 80 h 80"/>
                <a:gd name="T2" fmla="*/ 157 w 203"/>
                <a:gd name="T3" fmla="*/ 52 h 80"/>
                <a:gd name="T4" fmla="*/ 203 w 203"/>
                <a:gd name="T5" fmla="*/ 7 h 80"/>
                <a:gd name="T6" fmla="*/ 180 w 203"/>
                <a:gd name="T7" fmla="*/ 0 h 80"/>
                <a:gd name="T8" fmla="*/ 0 w 203"/>
                <a:gd name="T9" fmla="*/ 80 h 80"/>
                <a:gd name="T10" fmla="*/ 1 w 203"/>
                <a:gd name="T11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3" h="80">
                  <a:moveTo>
                    <a:pt x="1" y="80"/>
                  </a:moveTo>
                  <a:cubicBezTo>
                    <a:pt x="51" y="58"/>
                    <a:pt x="109" y="79"/>
                    <a:pt x="157" y="52"/>
                  </a:cubicBezTo>
                  <a:cubicBezTo>
                    <a:pt x="176" y="42"/>
                    <a:pt x="197" y="26"/>
                    <a:pt x="203" y="7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37" y="52"/>
                    <a:pt x="63" y="54"/>
                    <a:pt x="0" y="80"/>
                  </a:cubicBezTo>
                  <a:cubicBezTo>
                    <a:pt x="1" y="80"/>
                    <a:pt x="1" y="80"/>
                    <a:pt x="1" y="8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3" name="Freeform 38"/>
            <p:cNvSpPr/>
            <p:nvPr/>
          </p:nvSpPr>
          <p:spPr bwMode="auto">
            <a:xfrm>
              <a:off x="3770313" y="2443163"/>
              <a:ext cx="414338" cy="155575"/>
            </a:xfrm>
            <a:custGeom>
              <a:avLst/>
              <a:gdLst>
                <a:gd name="T0" fmla="*/ 6 w 141"/>
                <a:gd name="T1" fmla="*/ 53 h 53"/>
                <a:gd name="T2" fmla="*/ 40 w 141"/>
                <a:gd name="T3" fmla="*/ 38 h 53"/>
                <a:gd name="T4" fmla="*/ 59 w 141"/>
                <a:gd name="T5" fmla="*/ 38 h 53"/>
                <a:gd name="T6" fmla="*/ 141 w 141"/>
                <a:gd name="T7" fmla="*/ 11 h 53"/>
                <a:gd name="T8" fmla="*/ 8 w 141"/>
                <a:gd name="T9" fmla="*/ 32 h 53"/>
                <a:gd name="T10" fmla="*/ 3 w 141"/>
                <a:gd name="T11" fmla="*/ 51 h 53"/>
                <a:gd name="T12" fmla="*/ 6 w 141"/>
                <a:gd name="T1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1" h="53">
                  <a:moveTo>
                    <a:pt x="6" y="53"/>
                  </a:moveTo>
                  <a:cubicBezTo>
                    <a:pt x="40" y="38"/>
                    <a:pt x="40" y="38"/>
                    <a:pt x="40" y="38"/>
                  </a:cubicBezTo>
                  <a:cubicBezTo>
                    <a:pt x="47" y="40"/>
                    <a:pt x="52" y="37"/>
                    <a:pt x="59" y="38"/>
                  </a:cubicBezTo>
                  <a:cubicBezTo>
                    <a:pt x="89" y="38"/>
                    <a:pt x="122" y="35"/>
                    <a:pt x="141" y="11"/>
                  </a:cubicBezTo>
                  <a:cubicBezTo>
                    <a:pt x="98" y="26"/>
                    <a:pt x="44" y="0"/>
                    <a:pt x="8" y="32"/>
                  </a:cubicBezTo>
                  <a:cubicBezTo>
                    <a:pt x="4" y="38"/>
                    <a:pt x="0" y="45"/>
                    <a:pt x="3" y="51"/>
                  </a:cubicBezTo>
                  <a:cubicBezTo>
                    <a:pt x="4" y="51"/>
                    <a:pt x="4" y="51"/>
                    <a:pt x="6" y="5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4" name="Freeform 39"/>
            <p:cNvSpPr/>
            <p:nvPr/>
          </p:nvSpPr>
          <p:spPr bwMode="auto">
            <a:xfrm>
              <a:off x="3752850" y="2305050"/>
              <a:ext cx="571500" cy="211137"/>
            </a:xfrm>
            <a:custGeom>
              <a:avLst/>
              <a:gdLst>
                <a:gd name="T0" fmla="*/ 2 w 195"/>
                <a:gd name="T1" fmla="*/ 55 h 72"/>
                <a:gd name="T2" fmla="*/ 177 w 195"/>
                <a:gd name="T3" fmla="*/ 18 h 72"/>
                <a:gd name="T4" fmla="*/ 195 w 195"/>
                <a:gd name="T5" fmla="*/ 0 h 72"/>
                <a:gd name="T6" fmla="*/ 50 w 195"/>
                <a:gd name="T7" fmla="*/ 18 h 72"/>
                <a:gd name="T8" fmla="*/ 4 w 195"/>
                <a:gd name="T9" fmla="*/ 38 h 72"/>
                <a:gd name="T10" fmla="*/ 0 w 195"/>
                <a:gd name="T11" fmla="*/ 55 h 72"/>
                <a:gd name="T12" fmla="*/ 2 w 195"/>
                <a:gd name="T13" fmla="*/ 5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5" h="72">
                  <a:moveTo>
                    <a:pt x="2" y="55"/>
                  </a:moveTo>
                  <a:cubicBezTo>
                    <a:pt x="57" y="28"/>
                    <a:pt x="132" y="72"/>
                    <a:pt x="177" y="18"/>
                  </a:cubicBezTo>
                  <a:cubicBezTo>
                    <a:pt x="184" y="12"/>
                    <a:pt x="190" y="6"/>
                    <a:pt x="195" y="0"/>
                  </a:cubicBezTo>
                  <a:cubicBezTo>
                    <a:pt x="157" y="35"/>
                    <a:pt x="100" y="25"/>
                    <a:pt x="50" y="18"/>
                  </a:cubicBezTo>
                  <a:cubicBezTo>
                    <a:pt x="32" y="18"/>
                    <a:pt x="14" y="25"/>
                    <a:pt x="4" y="38"/>
                  </a:cubicBezTo>
                  <a:cubicBezTo>
                    <a:pt x="2" y="45"/>
                    <a:pt x="0" y="49"/>
                    <a:pt x="0" y="55"/>
                  </a:cubicBezTo>
                  <a:cubicBezTo>
                    <a:pt x="2" y="55"/>
                    <a:pt x="2" y="55"/>
                    <a:pt x="2" y="5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5" name="Freeform 40"/>
            <p:cNvSpPr/>
            <p:nvPr/>
          </p:nvSpPr>
          <p:spPr bwMode="auto">
            <a:xfrm>
              <a:off x="3752850" y="2163763"/>
              <a:ext cx="571500" cy="169862"/>
            </a:xfrm>
            <a:custGeom>
              <a:avLst/>
              <a:gdLst>
                <a:gd name="T0" fmla="*/ 94 w 195"/>
                <a:gd name="T1" fmla="*/ 50 h 58"/>
                <a:gd name="T2" fmla="*/ 171 w 195"/>
                <a:gd name="T3" fmla="*/ 36 h 58"/>
                <a:gd name="T4" fmla="*/ 195 w 195"/>
                <a:gd name="T5" fmla="*/ 21 h 58"/>
                <a:gd name="T6" fmla="*/ 7 w 195"/>
                <a:gd name="T7" fmla="*/ 20 h 58"/>
                <a:gd name="T8" fmla="*/ 0 w 195"/>
                <a:gd name="T9" fmla="*/ 38 h 58"/>
                <a:gd name="T10" fmla="*/ 71 w 195"/>
                <a:gd name="T11" fmla="*/ 46 h 58"/>
                <a:gd name="T12" fmla="*/ 94 w 195"/>
                <a:gd name="T13" fmla="*/ 5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5" h="58">
                  <a:moveTo>
                    <a:pt x="94" y="50"/>
                  </a:moveTo>
                  <a:cubicBezTo>
                    <a:pt x="120" y="49"/>
                    <a:pt x="145" y="45"/>
                    <a:pt x="171" y="36"/>
                  </a:cubicBezTo>
                  <a:cubicBezTo>
                    <a:pt x="180" y="30"/>
                    <a:pt x="189" y="29"/>
                    <a:pt x="195" y="21"/>
                  </a:cubicBezTo>
                  <a:cubicBezTo>
                    <a:pt x="134" y="58"/>
                    <a:pt x="66" y="0"/>
                    <a:pt x="7" y="20"/>
                  </a:cubicBezTo>
                  <a:cubicBezTo>
                    <a:pt x="0" y="25"/>
                    <a:pt x="0" y="31"/>
                    <a:pt x="0" y="38"/>
                  </a:cubicBezTo>
                  <a:cubicBezTo>
                    <a:pt x="23" y="33"/>
                    <a:pt x="47" y="38"/>
                    <a:pt x="71" y="46"/>
                  </a:cubicBezTo>
                  <a:cubicBezTo>
                    <a:pt x="80" y="46"/>
                    <a:pt x="87" y="48"/>
                    <a:pt x="94" y="5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6" name="Freeform 41"/>
            <p:cNvSpPr/>
            <p:nvPr/>
          </p:nvSpPr>
          <p:spPr bwMode="auto">
            <a:xfrm>
              <a:off x="3783013" y="2022475"/>
              <a:ext cx="617538" cy="144462"/>
            </a:xfrm>
            <a:custGeom>
              <a:avLst/>
              <a:gdLst>
                <a:gd name="T0" fmla="*/ 136 w 211"/>
                <a:gd name="T1" fmla="*/ 48 h 49"/>
                <a:gd name="T2" fmla="*/ 210 w 211"/>
                <a:gd name="T3" fmla="*/ 30 h 49"/>
                <a:gd name="T4" fmla="*/ 211 w 211"/>
                <a:gd name="T5" fmla="*/ 26 h 49"/>
                <a:gd name="T6" fmla="*/ 207 w 211"/>
                <a:gd name="T7" fmla="*/ 17 h 49"/>
                <a:gd name="T8" fmla="*/ 0 w 211"/>
                <a:gd name="T9" fmla="*/ 0 h 49"/>
                <a:gd name="T10" fmla="*/ 88 w 211"/>
                <a:gd name="T11" fmla="*/ 45 h 49"/>
                <a:gd name="T12" fmla="*/ 136 w 211"/>
                <a:gd name="T13" fmla="*/ 4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1" h="49">
                  <a:moveTo>
                    <a:pt x="136" y="48"/>
                  </a:moveTo>
                  <a:cubicBezTo>
                    <a:pt x="210" y="30"/>
                    <a:pt x="210" y="30"/>
                    <a:pt x="210" y="30"/>
                  </a:cubicBezTo>
                  <a:cubicBezTo>
                    <a:pt x="210" y="30"/>
                    <a:pt x="211" y="28"/>
                    <a:pt x="211" y="26"/>
                  </a:cubicBezTo>
                  <a:cubicBezTo>
                    <a:pt x="207" y="17"/>
                    <a:pt x="207" y="17"/>
                    <a:pt x="207" y="17"/>
                  </a:cubicBezTo>
                  <a:cubicBezTo>
                    <a:pt x="143" y="10"/>
                    <a:pt x="63" y="40"/>
                    <a:pt x="0" y="0"/>
                  </a:cubicBezTo>
                  <a:cubicBezTo>
                    <a:pt x="19" y="29"/>
                    <a:pt x="52" y="37"/>
                    <a:pt x="88" y="45"/>
                  </a:cubicBezTo>
                  <a:cubicBezTo>
                    <a:pt x="105" y="49"/>
                    <a:pt x="120" y="45"/>
                    <a:pt x="136" y="4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7" name="Freeform 42"/>
            <p:cNvSpPr/>
            <p:nvPr/>
          </p:nvSpPr>
          <p:spPr bwMode="auto">
            <a:xfrm>
              <a:off x="3902075" y="1887538"/>
              <a:ext cx="495300" cy="117475"/>
            </a:xfrm>
            <a:custGeom>
              <a:avLst/>
              <a:gdLst>
                <a:gd name="T0" fmla="*/ 53 w 169"/>
                <a:gd name="T1" fmla="*/ 40 h 40"/>
                <a:gd name="T2" fmla="*/ 149 w 169"/>
                <a:gd name="T3" fmla="*/ 29 h 40"/>
                <a:gd name="T4" fmla="*/ 167 w 169"/>
                <a:gd name="T5" fmla="*/ 22 h 40"/>
                <a:gd name="T6" fmla="*/ 169 w 169"/>
                <a:gd name="T7" fmla="*/ 19 h 40"/>
                <a:gd name="T8" fmla="*/ 151 w 169"/>
                <a:gd name="T9" fmla="*/ 0 h 40"/>
                <a:gd name="T10" fmla="*/ 67 w 169"/>
                <a:gd name="T11" fmla="*/ 22 h 40"/>
                <a:gd name="T12" fmla="*/ 0 w 169"/>
                <a:gd name="T13" fmla="*/ 23 h 40"/>
                <a:gd name="T14" fmla="*/ 53 w 169"/>
                <a:gd name="T15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9" h="40">
                  <a:moveTo>
                    <a:pt x="53" y="40"/>
                  </a:moveTo>
                  <a:cubicBezTo>
                    <a:pt x="84" y="40"/>
                    <a:pt x="117" y="40"/>
                    <a:pt x="149" y="29"/>
                  </a:cubicBezTo>
                  <a:cubicBezTo>
                    <a:pt x="155" y="26"/>
                    <a:pt x="163" y="26"/>
                    <a:pt x="167" y="22"/>
                  </a:cubicBezTo>
                  <a:cubicBezTo>
                    <a:pt x="167" y="22"/>
                    <a:pt x="167" y="20"/>
                    <a:pt x="169" y="19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24" y="3"/>
                    <a:pt x="95" y="15"/>
                    <a:pt x="67" y="22"/>
                  </a:cubicBezTo>
                  <a:cubicBezTo>
                    <a:pt x="43" y="24"/>
                    <a:pt x="22" y="29"/>
                    <a:pt x="0" y="23"/>
                  </a:cubicBezTo>
                  <a:cubicBezTo>
                    <a:pt x="14" y="34"/>
                    <a:pt x="35" y="35"/>
                    <a:pt x="53" y="40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8" name="Freeform 43"/>
            <p:cNvSpPr/>
            <p:nvPr/>
          </p:nvSpPr>
          <p:spPr bwMode="auto">
            <a:xfrm>
              <a:off x="3759200" y="1720850"/>
              <a:ext cx="647700" cy="176212"/>
            </a:xfrm>
            <a:custGeom>
              <a:avLst/>
              <a:gdLst>
                <a:gd name="T0" fmla="*/ 82 w 221"/>
                <a:gd name="T1" fmla="*/ 58 h 60"/>
                <a:gd name="T2" fmla="*/ 143 w 221"/>
                <a:gd name="T3" fmla="*/ 54 h 60"/>
                <a:gd name="T4" fmla="*/ 200 w 221"/>
                <a:gd name="T5" fmla="*/ 33 h 60"/>
                <a:gd name="T6" fmla="*/ 216 w 221"/>
                <a:gd name="T7" fmla="*/ 28 h 60"/>
                <a:gd name="T8" fmla="*/ 218 w 221"/>
                <a:gd name="T9" fmla="*/ 25 h 60"/>
                <a:gd name="T10" fmla="*/ 212 w 221"/>
                <a:gd name="T11" fmla="*/ 4 h 60"/>
                <a:gd name="T12" fmla="*/ 206 w 221"/>
                <a:gd name="T13" fmla="*/ 0 h 60"/>
                <a:gd name="T14" fmla="*/ 131 w 221"/>
                <a:gd name="T15" fmla="*/ 24 h 60"/>
                <a:gd name="T16" fmla="*/ 0 w 221"/>
                <a:gd name="T17" fmla="*/ 30 h 60"/>
                <a:gd name="T18" fmla="*/ 19 w 221"/>
                <a:gd name="T19" fmla="*/ 42 h 60"/>
                <a:gd name="T20" fmla="*/ 82 w 221"/>
                <a:gd name="T21" fmla="*/ 58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" h="60">
                  <a:moveTo>
                    <a:pt x="82" y="58"/>
                  </a:moveTo>
                  <a:cubicBezTo>
                    <a:pt x="102" y="60"/>
                    <a:pt x="124" y="56"/>
                    <a:pt x="143" y="54"/>
                  </a:cubicBezTo>
                  <a:cubicBezTo>
                    <a:pt x="165" y="47"/>
                    <a:pt x="185" y="44"/>
                    <a:pt x="200" y="33"/>
                  </a:cubicBezTo>
                  <a:cubicBezTo>
                    <a:pt x="207" y="33"/>
                    <a:pt x="210" y="31"/>
                    <a:pt x="216" y="28"/>
                  </a:cubicBezTo>
                  <a:cubicBezTo>
                    <a:pt x="216" y="27"/>
                    <a:pt x="216" y="27"/>
                    <a:pt x="218" y="25"/>
                  </a:cubicBezTo>
                  <a:cubicBezTo>
                    <a:pt x="221" y="19"/>
                    <a:pt x="216" y="9"/>
                    <a:pt x="212" y="4"/>
                  </a:cubicBezTo>
                  <a:cubicBezTo>
                    <a:pt x="208" y="3"/>
                    <a:pt x="208" y="1"/>
                    <a:pt x="206" y="0"/>
                  </a:cubicBezTo>
                  <a:cubicBezTo>
                    <a:pt x="182" y="6"/>
                    <a:pt x="156" y="12"/>
                    <a:pt x="131" y="24"/>
                  </a:cubicBezTo>
                  <a:cubicBezTo>
                    <a:pt x="86" y="34"/>
                    <a:pt x="41" y="45"/>
                    <a:pt x="0" y="30"/>
                  </a:cubicBezTo>
                  <a:cubicBezTo>
                    <a:pt x="4" y="36"/>
                    <a:pt x="13" y="36"/>
                    <a:pt x="19" y="42"/>
                  </a:cubicBezTo>
                  <a:cubicBezTo>
                    <a:pt x="39" y="52"/>
                    <a:pt x="62" y="52"/>
                    <a:pt x="82" y="58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39" name="Freeform 44"/>
            <p:cNvSpPr/>
            <p:nvPr/>
          </p:nvSpPr>
          <p:spPr bwMode="auto">
            <a:xfrm>
              <a:off x="3724275" y="1597025"/>
              <a:ext cx="603250" cy="155575"/>
            </a:xfrm>
            <a:custGeom>
              <a:avLst/>
              <a:gdLst>
                <a:gd name="T0" fmla="*/ 58 w 206"/>
                <a:gd name="T1" fmla="*/ 53 h 53"/>
                <a:gd name="T2" fmla="*/ 206 w 206"/>
                <a:gd name="T3" fmla="*/ 0 h 53"/>
                <a:gd name="T4" fmla="*/ 59 w 206"/>
                <a:gd name="T5" fmla="*/ 23 h 53"/>
                <a:gd name="T6" fmla="*/ 25 w 206"/>
                <a:gd name="T7" fmla="*/ 16 h 53"/>
                <a:gd name="T8" fmla="*/ 0 w 206"/>
                <a:gd name="T9" fmla="*/ 31 h 53"/>
                <a:gd name="T10" fmla="*/ 0 w 206"/>
                <a:gd name="T11" fmla="*/ 36 h 53"/>
                <a:gd name="T12" fmla="*/ 48 w 206"/>
                <a:gd name="T13" fmla="*/ 50 h 53"/>
                <a:gd name="T14" fmla="*/ 58 w 206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6" h="53">
                  <a:moveTo>
                    <a:pt x="58" y="53"/>
                  </a:moveTo>
                  <a:cubicBezTo>
                    <a:pt x="114" y="53"/>
                    <a:pt x="171" y="35"/>
                    <a:pt x="206" y="0"/>
                  </a:cubicBezTo>
                  <a:cubicBezTo>
                    <a:pt x="166" y="26"/>
                    <a:pt x="110" y="32"/>
                    <a:pt x="59" y="23"/>
                  </a:cubicBezTo>
                  <a:cubicBezTo>
                    <a:pt x="47" y="16"/>
                    <a:pt x="37" y="19"/>
                    <a:pt x="25" y="16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2"/>
                    <a:pt x="0" y="34"/>
                    <a:pt x="0" y="36"/>
                  </a:cubicBezTo>
                  <a:cubicBezTo>
                    <a:pt x="13" y="47"/>
                    <a:pt x="32" y="45"/>
                    <a:pt x="48" y="50"/>
                  </a:cubicBezTo>
                  <a:cubicBezTo>
                    <a:pt x="52" y="49"/>
                    <a:pt x="55" y="53"/>
                    <a:pt x="58" y="5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0" name="Freeform 45"/>
            <p:cNvSpPr/>
            <p:nvPr/>
          </p:nvSpPr>
          <p:spPr bwMode="auto">
            <a:xfrm>
              <a:off x="3724275" y="1477963"/>
              <a:ext cx="579438" cy="119062"/>
            </a:xfrm>
            <a:custGeom>
              <a:avLst/>
              <a:gdLst>
                <a:gd name="T0" fmla="*/ 65 w 198"/>
                <a:gd name="T1" fmla="*/ 41 h 41"/>
                <a:gd name="T2" fmla="*/ 166 w 198"/>
                <a:gd name="T3" fmla="*/ 25 h 41"/>
                <a:gd name="T4" fmla="*/ 198 w 198"/>
                <a:gd name="T5" fmla="*/ 11 h 41"/>
                <a:gd name="T6" fmla="*/ 4 w 198"/>
                <a:gd name="T7" fmla="*/ 20 h 41"/>
                <a:gd name="T8" fmla="*/ 0 w 198"/>
                <a:gd name="T9" fmla="*/ 23 h 41"/>
                <a:gd name="T10" fmla="*/ 35 w 198"/>
                <a:gd name="T11" fmla="*/ 39 h 41"/>
                <a:gd name="T12" fmla="*/ 65 w 198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8" h="41">
                  <a:moveTo>
                    <a:pt x="65" y="41"/>
                  </a:moveTo>
                  <a:cubicBezTo>
                    <a:pt x="99" y="41"/>
                    <a:pt x="133" y="35"/>
                    <a:pt x="166" y="25"/>
                  </a:cubicBezTo>
                  <a:cubicBezTo>
                    <a:pt x="175" y="19"/>
                    <a:pt x="189" y="18"/>
                    <a:pt x="198" y="11"/>
                  </a:cubicBezTo>
                  <a:cubicBezTo>
                    <a:pt x="134" y="39"/>
                    <a:pt x="64" y="0"/>
                    <a:pt x="4" y="20"/>
                  </a:cubicBezTo>
                  <a:cubicBezTo>
                    <a:pt x="2" y="23"/>
                    <a:pt x="0" y="23"/>
                    <a:pt x="0" y="23"/>
                  </a:cubicBezTo>
                  <a:cubicBezTo>
                    <a:pt x="8" y="33"/>
                    <a:pt x="26" y="31"/>
                    <a:pt x="35" y="39"/>
                  </a:cubicBezTo>
                  <a:cubicBezTo>
                    <a:pt x="47" y="39"/>
                    <a:pt x="55" y="41"/>
                    <a:pt x="65" y="4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1" name="Freeform 46"/>
            <p:cNvSpPr/>
            <p:nvPr/>
          </p:nvSpPr>
          <p:spPr bwMode="auto">
            <a:xfrm>
              <a:off x="3724275" y="1350963"/>
              <a:ext cx="603250" cy="120650"/>
            </a:xfrm>
            <a:custGeom>
              <a:avLst/>
              <a:gdLst>
                <a:gd name="T0" fmla="*/ 87 w 206"/>
                <a:gd name="T1" fmla="*/ 39 h 41"/>
                <a:gd name="T2" fmla="*/ 206 w 206"/>
                <a:gd name="T3" fmla="*/ 19 h 41"/>
                <a:gd name="T4" fmla="*/ 25 w 206"/>
                <a:gd name="T5" fmla="*/ 0 h 41"/>
                <a:gd name="T6" fmla="*/ 0 w 206"/>
                <a:gd name="T7" fmla="*/ 15 h 41"/>
                <a:gd name="T8" fmla="*/ 60 w 206"/>
                <a:gd name="T9" fmla="*/ 35 h 41"/>
                <a:gd name="T10" fmla="*/ 87 w 206"/>
                <a:gd name="T11" fmla="*/ 39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6" h="41">
                  <a:moveTo>
                    <a:pt x="87" y="39"/>
                  </a:moveTo>
                  <a:cubicBezTo>
                    <a:pt x="126" y="35"/>
                    <a:pt x="171" y="41"/>
                    <a:pt x="206" y="19"/>
                  </a:cubicBezTo>
                  <a:cubicBezTo>
                    <a:pt x="145" y="24"/>
                    <a:pt x="86" y="3"/>
                    <a:pt x="25" y="0"/>
                  </a:cubicBezTo>
                  <a:cubicBezTo>
                    <a:pt x="13" y="0"/>
                    <a:pt x="5" y="6"/>
                    <a:pt x="0" y="15"/>
                  </a:cubicBezTo>
                  <a:cubicBezTo>
                    <a:pt x="16" y="27"/>
                    <a:pt x="40" y="27"/>
                    <a:pt x="60" y="35"/>
                  </a:cubicBezTo>
                  <a:cubicBezTo>
                    <a:pt x="71" y="37"/>
                    <a:pt x="77" y="36"/>
                    <a:pt x="87" y="3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2" name="Freeform 47"/>
            <p:cNvSpPr/>
            <p:nvPr/>
          </p:nvSpPr>
          <p:spPr bwMode="auto">
            <a:xfrm>
              <a:off x="3589338" y="1166813"/>
              <a:ext cx="811213" cy="190500"/>
            </a:xfrm>
            <a:custGeom>
              <a:avLst/>
              <a:gdLst>
                <a:gd name="T0" fmla="*/ 194 w 277"/>
                <a:gd name="T1" fmla="*/ 65 h 65"/>
                <a:gd name="T2" fmla="*/ 276 w 277"/>
                <a:gd name="T3" fmla="*/ 58 h 65"/>
                <a:gd name="T4" fmla="*/ 277 w 277"/>
                <a:gd name="T5" fmla="*/ 55 h 65"/>
                <a:gd name="T6" fmla="*/ 225 w 277"/>
                <a:gd name="T7" fmla="*/ 37 h 65"/>
                <a:gd name="T8" fmla="*/ 0 w 277"/>
                <a:gd name="T9" fmla="*/ 0 h 65"/>
                <a:gd name="T10" fmla="*/ 194 w 277"/>
                <a:gd name="T1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7" h="65">
                  <a:moveTo>
                    <a:pt x="194" y="65"/>
                  </a:moveTo>
                  <a:cubicBezTo>
                    <a:pt x="276" y="58"/>
                    <a:pt x="276" y="58"/>
                    <a:pt x="276" y="58"/>
                  </a:cubicBezTo>
                  <a:cubicBezTo>
                    <a:pt x="276" y="58"/>
                    <a:pt x="277" y="57"/>
                    <a:pt x="277" y="55"/>
                  </a:cubicBezTo>
                  <a:cubicBezTo>
                    <a:pt x="268" y="41"/>
                    <a:pt x="244" y="38"/>
                    <a:pt x="225" y="37"/>
                  </a:cubicBezTo>
                  <a:cubicBezTo>
                    <a:pt x="149" y="45"/>
                    <a:pt x="74" y="18"/>
                    <a:pt x="0" y="0"/>
                  </a:cubicBezTo>
                  <a:cubicBezTo>
                    <a:pt x="57" y="31"/>
                    <a:pt x="123" y="62"/>
                    <a:pt x="194" y="65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3" name="Freeform 48"/>
            <p:cNvSpPr/>
            <p:nvPr/>
          </p:nvSpPr>
          <p:spPr bwMode="auto">
            <a:xfrm>
              <a:off x="3862388" y="1139825"/>
              <a:ext cx="506413" cy="90487"/>
            </a:xfrm>
            <a:custGeom>
              <a:avLst/>
              <a:gdLst>
                <a:gd name="T0" fmla="*/ 88 w 173"/>
                <a:gd name="T1" fmla="*/ 31 h 31"/>
                <a:gd name="T2" fmla="*/ 167 w 173"/>
                <a:gd name="T3" fmla="*/ 25 h 31"/>
                <a:gd name="T4" fmla="*/ 173 w 173"/>
                <a:gd name="T5" fmla="*/ 21 h 31"/>
                <a:gd name="T6" fmla="*/ 159 w 173"/>
                <a:gd name="T7" fmla="*/ 8 h 31"/>
                <a:gd name="T8" fmla="*/ 147 w 173"/>
                <a:gd name="T9" fmla="*/ 3 h 31"/>
                <a:gd name="T10" fmla="*/ 142 w 173"/>
                <a:gd name="T11" fmla="*/ 4 h 31"/>
                <a:gd name="T12" fmla="*/ 0 w 173"/>
                <a:gd name="T13" fmla="*/ 8 h 31"/>
                <a:gd name="T14" fmla="*/ 88 w 173"/>
                <a:gd name="T1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3" h="31">
                  <a:moveTo>
                    <a:pt x="88" y="31"/>
                  </a:moveTo>
                  <a:cubicBezTo>
                    <a:pt x="114" y="31"/>
                    <a:pt x="140" y="31"/>
                    <a:pt x="167" y="25"/>
                  </a:cubicBezTo>
                  <a:cubicBezTo>
                    <a:pt x="171" y="24"/>
                    <a:pt x="172" y="23"/>
                    <a:pt x="173" y="21"/>
                  </a:cubicBezTo>
                  <a:cubicBezTo>
                    <a:pt x="173" y="15"/>
                    <a:pt x="164" y="13"/>
                    <a:pt x="159" y="8"/>
                  </a:cubicBezTo>
                  <a:cubicBezTo>
                    <a:pt x="153" y="7"/>
                    <a:pt x="152" y="4"/>
                    <a:pt x="147" y="3"/>
                  </a:cubicBezTo>
                  <a:cubicBezTo>
                    <a:pt x="146" y="3"/>
                    <a:pt x="144" y="3"/>
                    <a:pt x="142" y="4"/>
                  </a:cubicBezTo>
                  <a:cubicBezTo>
                    <a:pt x="94" y="0"/>
                    <a:pt x="47" y="17"/>
                    <a:pt x="0" y="8"/>
                  </a:cubicBezTo>
                  <a:cubicBezTo>
                    <a:pt x="25" y="23"/>
                    <a:pt x="57" y="26"/>
                    <a:pt x="88" y="31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4" name="Freeform 49"/>
            <p:cNvSpPr/>
            <p:nvPr/>
          </p:nvSpPr>
          <p:spPr bwMode="auto">
            <a:xfrm>
              <a:off x="3409848" y="946150"/>
              <a:ext cx="1006577" cy="144462"/>
            </a:xfrm>
            <a:custGeom>
              <a:avLst/>
              <a:gdLst>
                <a:gd name="T0" fmla="*/ 162 w 292"/>
                <a:gd name="T1" fmla="*/ 54 h 54"/>
                <a:gd name="T2" fmla="*/ 212 w 292"/>
                <a:gd name="T3" fmla="*/ 50 h 54"/>
                <a:gd name="T4" fmla="*/ 290 w 292"/>
                <a:gd name="T5" fmla="*/ 34 h 54"/>
                <a:gd name="T6" fmla="*/ 282 w 292"/>
                <a:gd name="T7" fmla="*/ 24 h 54"/>
                <a:gd name="T8" fmla="*/ 0 w 292"/>
                <a:gd name="T9" fmla="*/ 0 h 54"/>
                <a:gd name="T10" fmla="*/ 162 w 292"/>
                <a:gd name="T11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92" h="54">
                  <a:moveTo>
                    <a:pt x="162" y="54"/>
                  </a:moveTo>
                  <a:cubicBezTo>
                    <a:pt x="212" y="50"/>
                    <a:pt x="212" y="50"/>
                    <a:pt x="212" y="50"/>
                  </a:cubicBezTo>
                  <a:cubicBezTo>
                    <a:pt x="290" y="34"/>
                    <a:pt x="290" y="34"/>
                    <a:pt x="290" y="34"/>
                  </a:cubicBezTo>
                  <a:cubicBezTo>
                    <a:pt x="292" y="30"/>
                    <a:pt x="286" y="26"/>
                    <a:pt x="282" y="24"/>
                  </a:cubicBezTo>
                  <a:cubicBezTo>
                    <a:pt x="187" y="10"/>
                    <a:pt x="94" y="44"/>
                    <a:pt x="0" y="0"/>
                  </a:cubicBezTo>
                  <a:cubicBezTo>
                    <a:pt x="41" y="34"/>
                    <a:pt x="104" y="50"/>
                    <a:pt x="162" y="54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5" name="Freeform 50"/>
            <p:cNvSpPr/>
            <p:nvPr/>
          </p:nvSpPr>
          <p:spPr bwMode="auto">
            <a:xfrm>
              <a:off x="3589339" y="841375"/>
              <a:ext cx="790574" cy="115889"/>
            </a:xfrm>
            <a:custGeom>
              <a:avLst/>
              <a:gdLst>
                <a:gd name="T0" fmla="*/ 55 w 209"/>
                <a:gd name="T1" fmla="*/ 33 h 35"/>
                <a:gd name="T2" fmla="*/ 207 w 209"/>
                <a:gd name="T3" fmla="*/ 20 h 35"/>
                <a:gd name="T4" fmla="*/ 209 w 209"/>
                <a:gd name="T5" fmla="*/ 17 h 35"/>
                <a:gd name="T6" fmla="*/ 170 w 209"/>
                <a:gd name="T7" fmla="*/ 2 h 35"/>
                <a:gd name="T8" fmla="*/ 18 w 209"/>
                <a:gd name="T9" fmla="*/ 22 h 35"/>
                <a:gd name="T10" fmla="*/ 0 w 209"/>
                <a:gd name="T11" fmla="*/ 23 h 35"/>
                <a:gd name="T12" fmla="*/ 55 w 209"/>
                <a:gd name="T13" fmla="*/ 3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9" h="35">
                  <a:moveTo>
                    <a:pt x="55" y="33"/>
                  </a:moveTo>
                  <a:cubicBezTo>
                    <a:pt x="105" y="35"/>
                    <a:pt x="156" y="26"/>
                    <a:pt x="207" y="20"/>
                  </a:cubicBezTo>
                  <a:cubicBezTo>
                    <a:pt x="207" y="20"/>
                    <a:pt x="208" y="19"/>
                    <a:pt x="209" y="17"/>
                  </a:cubicBezTo>
                  <a:cubicBezTo>
                    <a:pt x="201" y="6"/>
                    <a:pt x="183" y="7"/>
                    <a:pt x="170" y="2"/>
                  </a:cubicBezTo>
                  <a:cubicBezTo>
                    <a:pt x="118" y="0"/>
                    <a:pt x="69" y="27"/>
                    <a:pt x="18" y="22"/>
                  </a:cubicBezTo>
                  <a:cubicBezTo>
                    <a:pt x="11" y="22"/>
                    <a:pt x="5" y="23"/>
                    <a:pt x="0" y="23"/>
                  </a:cubicBezTo>
                  <a:cubicBezTo>
                    <a:pt x="55" y="33"/>
                    <a:pt x="55" y="33"/>
                    <a:pt x="55" y="33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  <p:sp>
          <p:nvSpPr>
            <p:cNvPr id="46" name="Freeform 51"/>
            <p:cNvSpPr/>
            <p:nvPr/>
          </p:nvSpPr>
          <p:spPr bwMode="auto">
            <a:xfrm>
              <a:off x="3314423" y="673100"/>
              <a:ext cx="1078190" cy="168275"/>
            </a:xfrm>
            <a:custGeom>
              <a:avLst/>
              <a:gdLst>
                <a:gd name="T0" fmla="*/ 70 w 271"/>
                <a:gd name="T1" fmla="*/ 59 h 62"/>
                <a:gd name="T2" fmla="*/ 267 w 271"/>
                <a:gd name="T3" fmla="*/ 45 h 62"/>
                <a:gd name="T4" fmla="*/ 271 w 271"/>
                <a:gd name="T5" fmla="*/ 42 h 62"/>
                <a:gd name="T6" fmla="*/ 271 w 271"/>
                <a:gd name="T7" fmla="*/ 37 h 62"/>
                <a:gd name="T8" fmla="*/ 0 w 271"/>
                <a:gd name="T9" fmla="*/ 37 h 62"/>
                <a:gd name="T10" fmla="*/ 70 w 271"/>
                <a:gd name="T11" fmla="*/ 5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1" h="62">
                  <a:moveTo>
                    <a:pt x="70" y="59"/>
                  </a:moveTo>
                  <a:cubicBezTo>
                    <a:pt x="135" y="62"/>
                    <a:pt x="201" y="39"/>
                    <a:pt x="267" y="45"/>
                  </a:cubicBezTo>
                  <a:cubicBezTo>
                    <a:pt x="268" y="45"/>
                    <a:pt x="271" y="43"/>
                    <a:pt x="271" y="42"/>
                  </a:cubicBezTo>
                  <a:cubicBezTo>
                    <a:pt x="271" y="41"/>
                    <a:pt x="271" y="39"/>
                    <a:pt x="271" y="37"/>
                  </a:cubicBezTo>
                  <a:cubicBezTo>
                    <a:pt x="185" y="0"/>
                    <a:pt x="90" y="50"/>
                    <a:pt x="0" y="37"/>
                  </a:cubicBezTo>
                  <a:cubicBezTo>
                    <a:pt x="18" y="49"/>
                    <a:pt x="47" y="53"/>
                    <a:pt x="70" y="59"/>
                  </a:cubicBezTo>
                  <a:close/>
                </a:path>
              </a:pathLst>
            </a:custGeom>
            <a:grpFill/>
            <a:ln w="3175" cap="flat">
              <a:noFill/>
              <a:prstDash val="solid"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solidFill>
                  <a:prstClr val="black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8" name="标题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10" name="内容占位符 9"/>
          <p:cNvSpPr>
            <a:spLocks noGrp="1"/>
          </p:cNvSpPr>
          <p:nvPr>
            <p:ph sz="quarter" idx="13"/>
          </p:nvPr>
        </p:nvSpPr>
        <p:spPr>
          <a:xfrm>
            <a:off x="457200" y="1078523"/>
            <a:ext cx="4038600" cy="5158765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12" name="内容占位符 11"/>
          <p:cNvSpPr>
            <a:spLocks noGrp="1"/>
          </p:cNvSpPr>
          <p:nvPr>
            <p:ph sz="quarter" idx="14"/>
          </p:nvPr>
        </p:nvSpPr>
        <p:spPr>
          <a:xfrm>
            <a:off x="4648200" y="1066800"/>
            <a:ext cx="4038600" cy="51704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047694"/>
            <a:ext cx="4040188" cy="834107"/>
          </a:xfrm>
        </p:spPr>
        <p:txBody>
          <a:bodyPr anchor="b">
            <a:noAutofit/>
          </a:bodyPr>
          <a:lstStyle>
            <a:lvl1pPr marL="0" indent="0">
              <a:buNone/>
              <a:defRPr sz="24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047694"/>
            <a:ext cx="4041775" cy="834107"/>
          </a:xfrm>
        </p:spPr>
        <p:txBody>
          <a:bodyPr anchor="b">
            <a:noAutofit/>
          </a:bodyPr>
          <a:lstStyle>
            <a:lvl1pPr marL="0" indent="0">
              <a:buNone/>
              <a:defRPr sz="24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11" name="内容占位符 10"/>
          <p:cNvSpPr>
            <a:spLocks noGrp="1"/>
          </p:cNvSpPr>
          <p:nvPr>
            <p:ph sz="quarter" idx="13"/>
          </p:nvPr>
        </p:nvSpPr>
        <p:spPr>
          <a:xfrm>
            <a:off x="457200" y="1881188"/>
            <a:ext cx="4040188" cy="43561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13" name="内容占位符 12"/>
          <p:cNvSpPr>
            <a:spLocks noGrp="1"/>
          </p:cNvSpPr>
          <p:nvPr>
            <p:ph sz="quarter" idx="14"/>
          </p:nvPr>
        </p:nvSpPr>
        <p:spPr>
          <a:xfrm>
            <a:off x="4645025" y="1881188"/>
            <a:ext cx="4041775" cy="4356100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14" name="标题 1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图片 33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5360" y="3673130"/>
            <a:ext cx="6835671" cy="3001245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48209" y="1267534"/>
            <a:ext cx="4310077" cy="1905296"/>
          </a:xfrm>
        </p:spPr>
        <p:txBody>
          <a:bodyPr>
            <a:noAutofit/>
          </a:bodyPr>
          <a:lstStyle>
            <a:lvl1pPr algn="ctr">
              <a:defRPr sz="4800" b="1">
                <a:solidFill>
                  <a:schemeClr val="tx1"/>
                </a:solidFill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Blur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4852396" y="1267534"/>
            <a:ext cx="1498127" cy="1152128"/>
          </a:xfrm>
          <a:prstGeom prst="rect">
            <a:avLst/>
          </a:prstGeom>
        </p:spPr>
      </p:pic>
      <p:pic>
        <p:nvPicPr>
          <p:cNvPr id="22" name="图片 21"/>
          <p:cNvPicPr>
            <a:picLocks noChangeAspect="1"/>
          </p:cNvPicPr>
          <p:nvPr/>
        </p:nvPicPr>
        <p:blipFill rotWithShape="1"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Blur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7804723" y="2509381"/>
            <a:ext cx="1001069" cy="1412776"/>
          </a:xfrm>
          <a:prstGeom prst="rect">
            <a:avLst/>
          </a:prstGeom>
        </p:spPr>
      </p:pic>
      <p:pic>
        <p:nvPicPr>
          <p:cNvPr id="23" name="图片 22"/>
          <p:cNvPicPr>
            <a:picLocks noChangeAspect="1"/>
          </p:cNvPicPr>
          <p:nvPr/>
        </p:nvPicPr>
        <p:blipFill>
          <a:blip r:embed="rId10" cstate="screen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artisticBlu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848400" y="2509381"/>
            <a:ext cx="1989935" cy="1412776"/>
          </a:xfrm>
          <a:prstGeom prst="rect">
            <a:avLst/>
          </a:prstGeom>
        </p:spPr>
      </p:pic>
      <p:pic>
        <p:nvPicPr>
          <p:cNvPr id="24" name="图片 23"/>
          <p:cNvPicPr>
            <a:picLocks noChangeAspect="1"/>
          </p:cNvPicPr>
          <p:nvPr/>
        </p:nvPicPr>
        <p:blipFill rotWithShape="1">
          <a:blip r:embed="rId12" cstate="screen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Blur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7171031" y="1267534"/>
            <a:ext cx="1634761" cy="1152128"/>
          </a:xfrm>
          <a:prstGeom prst="rect">
            <a:avLst/>
          </a:prstGeom>
        </p:spPr>
      </p:pic>
      <p:pic>
        <p:nvPicPr>
          <p:cNvPr id="25" name="图片 24"/>
          <p:cNvPicPr>
            <a:picLocks noChangeAspect="1"/>
          </p:cNvPicPr>
          <p:nvPr/>
        </p:nvPicPr>
        <p:blipFill rotWithShape="1">
          <a:blip r:embed="rId14" cstate="screen"/>
          <a:srcRect/>
          <a:stretch>
            <a:fillRect/>
          </a:stretch>
        </p:blipFill>
        <p:spPr>
          <a:xfrm>
            <a:off x="4848400" y="4023522"/>
            <a:ext cx="3964436" cy="1244725"/>
          </a:xfrm>
          <a:prstGeom prst="rect">
            <a:avLst/>
          </a:prstGeom>
        </p:spPr>
      </p:pic>
      <p:pic>
        <p:nvPicPr>
          <p:cNvPr id="26" name="图片 25"/>
          <p:cNvPicPr>
            <a:picLocks noChangeAspect="1"/>
          </p:cNvPicPr>
          <p:nvPr/>
        </p:nvPicPr>
        <p:blipFill>
          <a:blip r:embed="rId15" cstate="screen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artisticBlu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866280" y="5369612"/>
            <a:ext cx="1470357" cy="980728"/>
          </a:xfrm>
          <a:prstGeom prst="rect">
            <a:avLst/>
          </a:prstGeom>
        </p:spPr>
      </p:pic>
      <p:sp>
        <p:nvSpPr>
          <p:cNvPr id="27" name="Rectangle 30"/>
          <p:cNvSpPr/>
          <p:nvPr/>
        </p:nvSpPr>
        <p:spPr>
          <a:xfrm>
            <a:off x="6440613" y="1267534"/>
            <a:ext cx="640328" cy="1128763"/>
          </a:xfrm>
          <a:prstGeom prst="rect">
            <a:avLst/>
          </a:prstGeom>
          <a:solidFill>
            <a:srgbClr val="1D4C7C">
              <a:lumMod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91428" tIns="45714" rIns="91428" bIns="45714" spcCol="0" rtlCol="0" anchor="ctr"/>
          <a:lstStyle/>
          <a:p>
            <a:pPr algn="ctr" defTabSz="685165"/>
            <a:endParaRPr lang="en-US" sz="1600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Rectangle 7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6920772" y="2509381"/>
            <a:ext cx="793838" cy="1412776"/>
          </a:xfrm>
          <a:prstGeom prst="rect">
            <a:avLst/>
          </a:prstGeom>
          <a:solidFill>
            <a:srgbClr val="FF3B77"/>
          </a:solidFill>
          <a:ln w="9525">
            <a:solidFill>
              <a:srgbClr val="FFFFFF">
                <a:alpha val="50000"/>
              </a:srgbClr>
            </a:solidFill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40" tIns="45720" rIns="91440" bIns="45720" numCol="1" rtlCol="0" anchor="b" anchorCtr="0" compatLnSpc="1">
            <a:noAutofit/>
          </a:bodyPr>
          <a:lstStyle/>
          <a:p>
            <a:pPr defTabSz="91376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defRPr/>
            </a:pPr>
            <a:endParaRPr lang="en-US" sz="1400" kern="0" dirty="0" smtClean="0">
              <a:ln>
                <a:solidFill>
                  <a:srgbClr val="FFFFFF">
                    <a:alpha val="0"/>
                  </a:srgbClr>
                </a:solidFill>
              </a:ln>
              <a:solidFill>
                <a:srgbClr val="FFFFFF">
                  <a:alpha val="99000"/>
                </a:srgbClr>
              </a:solidFill>
              <a:latin typeface="Segoe UI"/>
              <a:cs typeface="Segoe UI" pitchFamily="34" charset="0"/>
            </a:endParaRPr>
          </a:p>
        </p:txBody>
      </p:sp>
      <p:sp>
        <p:nvSpPr>
          <p:cNvPr id="29" name="Rectangle 8"/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6416486" y="5369612"/>
            <a:ext cx="2396350" cy="980728"/>
          </a:xfrm>
          <a:prstGeom prst="rect">
            <a:avLst/>
          </a:prstGeom>
          <a:solidFill>
            <a:srgbClr val="01BFFF"/>
          </a:solidFill>
          <a:ln w="9525">
            <a:solidFill>
              <a:srgbClr val="FFFFFF">
                <a:alpha val="50000"/>
              </a:srgbClr>
            </a:solidFill>
            <a:headEnd type="none" w="med" len="med"/>
            <a:tailEnd type="none" w="med" len="med"/>
          </a:ln>
          <a:effectLst/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prstMaterial="flat">
            <a:contourClr>
              <a:srgbClr val="8E499C">
                <a:satMod val="300000"/>
              </a:srgbClr>
            </a:contourClr>
          </a:sp3d>
        </p:spPr>
        <p:txBody>
          <a:bodyPr vert="horz" wrap="square" lIns="91440" tIns="45720" rIns="91440" bIns="45720" numCol="1" rtlCol="0" anchor="b" anchorCtr="0" compatLnSpc="1">
            <a:noAutofit/>
          </a:bodyPr>
          <a:lstStyle/>
          <a:p>
            <a:pPr defTabSz="91376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defRPr/>
            </a:pPr>
            <a:r>
              <a:rPr lang="en-US" sz="14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Segoe UI"/>
                <a:cs typeface="Segoe UI" pitchFamily="34" charset="0"/>
              </a:rPr>
              <a:t>         </a:t>
            </a:r>
          </a:p>
          <a:p>
            <a:pPr defTabSz="913765" fontAlgn="base">
              <a:lnSpc>
                <a:spcPct val="90000"/>
              </a:lnSpc>
              <a:spcBef>
                <a:spcPts val="630"/>
              </a:spcBef>
              <a:spcAft>
                <a:spcPct val="0"/>
              </a:spcAft>
              <a:buClr>
                <a:srgbClr val="FFFF99"/>
              </a:buClr>
              <a:buSzPct val="120000"/>
              <a:defRPr/>
            </a:pPr>
            <a:r>
              <a:rPr lang="en-US" sz="1400" kern="0" dirty="0" smtClean="0">
                <a:ln>
                  <a:solidFill>
                    <a:srgbClr val="FFFFFF">
                      <a:alpha val="0"/>
                    </a:srgbClr>
                  </a:solidFill>
                </a:ln>
                <a:solidFill>
                  <a:srgbClr val="FFFFFF">
                    <a:alpha val="99000"/>
                  </a:srgbClr>
                </a:solidFill>
                <a:latin typeface="Segoe UI"/>
                <a:cs typeface="Segoe UI" pitchFamily="34" charset="0"/>
              </a:rPr>
              <a:t>             </a:t>
            </a:r>
          </a:p>
        </p:txBody>
      </p:sp>
      <p:pic>
        <p:nvPicPr>
          <p:cNvPr id="30" name="图片 29"/>
          <p:cNvPicPr>
            <a:picLocks noChangeAspect="1"/>
          </p:cNvPicPr>
          <p:nvPr/>
        </p:nvPicPr>
        <p:blipFill>
          <a:blip r:embed="rId17" cstate="screen"/>
          <a:stretch>
            <a:fillRect/>
          </a:stretch>
        </p:blipFill>
        <p:spPr>
          <a:xfrm>
            <a:off x="8210122" y="5369612"/>
            <a:ext cx="612527" cy="980728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18" cstate="screen">
            <a:biLevel thresh="25000"/>
          </a:blip>
          <a:stretch>
            <a:fillRect/>
          </a:stretch>
        </p:blipFill>
        <p:spPr>
          <a:xfrm>
            <a:off x="6993585" y="5511762"/>
            <a:ext cx="668682" cy="668682"/>
          </a:xfrm>
          <a:prstGeom prst="rect">
            <a:avLst/>
          </a:prstGeom>
        </p:spPr>
      </p:pic>
      <p:pic>
        <p:nvPicPr>
          <p:cNvPr id="32" name="图片 31"/>
          <p:cNvPicPr>
            <a:picLocks noChangeAspect="1"/>
          </p:cNvPicPr>
          <p:nvPr/>
        </p:nvPicPr>
        <p:blipFill>
          <a:blip r:embed="rId19" cstate="screen">
            <a:biLevel thresh="25000"/>
          </a:blip>
          <a:stretch>
            <a:fillRect/>
          </a:stretch>
        </p:blipFill>
        <p:spPr>
          <a:xfrm>
            <a:off x="6462440" y="1558487"/>
            <a:ext cx="596674" cy="596674"/>
          </a:xfrm>
          <a:prstGeom prst="rect">
            <a:avLst/>
          </a:prstGeom>
        </p:spPr>
      </p:pic>
      <p:pic>
        <p:nvPicPr>
          <p:cNvPr id="33" name="图片 32"/>
          <p:cNvPicPr>
            <a:picLocks noChangeAspect="1"/>
          </p:cNvPicPr>
          <p:nvPr/>
        </p:nvPicPr>
        <p:blipFill>
          <a:blip r:embed="rId20">
            <a:biLevel thresh="25000"/>
          </a:blip>
          <a:stretch>
            <a:fillRect/>
          </a:stretch>
        </p:blipFill>
        <p:spPr>
          <a:xfrm>
            <a:off x="6885572" y="2822773"/>
            <a:ext cx="884707" cy="88470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629841" y="711200"/>
            <a:ext cx="3196800" cy="1600200"/>
          </a:xfrm>
        </p:spPr>
        <p:txBody>
          <a:bodyPr anchor="t" anchorCtr="0">
            <a:no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此处编辑标题</a:t>
            </a:r>
            <a:endParaRPr lang="zh-CN" altLang="en-US" dirty="0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4014391" y="733425"/>
            <a:ext cx="4478400" cy="54036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311400"/>
            <a:ext cx="3196800" cy="3811588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F2F5ED-D19D-4097-92A9-D6092B3D6E68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AAEAA2-D029-4D23-B6D5-DE004B8B3ED2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0" y="0"/>
            <a:ext cx="669600" cy="6858000"/>
          </a:xfrm>
          <a:prstGeom prst="rect">
            <a:avLst/>
          </a:prstGeom>
          <a:blipFill>
            <a:blip r:embed="rId2" cstate="print">
              <a:alphaModFix amt="40000"/>
            </a:blip>
            <a:tile tx="0" ty="0" sx="50000" sy="50000" flip="x" algn="tl"/>
          </a:blip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D0685E-ACB2-482E-9BA0-496CB38D2D1F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6FDA90-F39A-4D51-A381-012597088676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 cstate="print">
            <a:duotone>
              <a:schemeClr val="bg2"/>
              <a:srgbClr val="FFF1C1"/>
            </a:duotone>
          </a:blip>
          <a:stretch>
            <a:fillRect/>
          </a:stretch>
        </p:blipFill>
        <p:spPr>
          <a:xfrm>
            <a:off x="8135907" y="0"/>
            <a:ext cx="1008093" cy="142873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7197969" y="365125"/>
            <a:ext cx="1317381" cy="5811838"/>
          </a:xfrm>
        </p:spPr>
        <p:txBody>
          <a:bodyPr vert="eaVert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87F0AE-2B1B-40BE-90E4-08DD2D2AE0B5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B9E0EA-D3C5-4B77-96F8-56181A0C3AC9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8" name="竖排内容占位符 7"/>
          <p:cNvSpPr>
            <a:spLocks noGrp="1"/>
          </p:cNvSpPr>
          <p:nvPr>
            <p:ph orient="vert" sz="quarter" idx="13"/>
          </p:nvPr>
        </p:nvSpPr>
        <p:spPr>
          <a:xfrm>
            <a:off x="457200" y="365125"/>
            <a:ext cx="6564313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0820CF-B880-4189-942D-D702A7CBA730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7" name="内容占位符 6"/>
          <p:cNvSpPr>
            <a:spLocks noGrp="1"/>
          </p:cNvSpPr>
          <p:nvPr>
            <p:ph sz="quarter" idx="13"/>
          </p:nvPr>
        </p:nvSpPr>
        <p:spPr>
          <a:xfrm>
            <a:off x="629100" y="363600"/>
            <a:ext cx="7886700" cy="581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48113"/>
            <a:ext cx="7772400" cy="1462666"/>
          </a:xfrm>
        </p:spPr>
        <p:txBody>
          <a:bodyPr anchor="ctr" anchorCtr="0">
            <a:normAutofit/>
          </a:bodyPr>
          <a:lstStyle>
            <a:lvl1pPr algn="ctr">
              <a:defRPr sz="4800" b="1">
                <a:ln w="3175">
                  <a:solidFill>
                    <a:schemeClr val="accent1"/>
                  </a:solidFill>
                </a:ln>
                <a:pattFill prst="pct50">
                  <a:fgClr>
                    <a:schemeClr val="tx1"/>
                  </a:fgClr>
                  <a:bgClr>
                    <a:schemeClr val="accent1"/>
                  </a:bgClr>
                </a:patt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951081"/>
            <a:ext cx="6858000" cy="636133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60F58-3108-4415-857A-6D0360DF626E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85CE2-CEAD-46BB-861E-7D62265DC96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38864" y="2212255"/>
            <a:ext cx="6666272" cy="3465871"/>
          </a:xfrm>
          <a:ln>
            <a:solidFill>
              <a:schemeClr val="tx1"/>
            </a:solidFill>
          </a:ln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0CE79-49FB-443D-BEF8-6B709DE8FD0C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06490-237C-474C-BA2E-D98840BC1F8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直接连接符 6"/>
          <p:cNvCxnSpPr/>
          <p:nvPr/>
        </p:nvCxnSpPr>
        <p:spPr>
          <a:xfrm>
            <a:off x="0" y="0"/>
            <a:ext cx="1798571" cy="179857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/>
          <p:nvPr/>
        </p:nvCxnSpPr>
        <p:spPr>
          <a:xfrm>
            <a:off x="789089" y="490312"/>
            <a:ext cx="2175627" cy="21756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899285" y="2192799"/>
            <a:ext cx="1258324" cy="1258324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/>
        </p:nvCxnSpPr>
        <p:spPr>
          <a:xfrm>
            <a:off x="814063" y="1563064"/>
            <a:ext cx="971349" cy="971349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979464" y="2300748"/>
            <a:ext cx="5535886" cy="1598050"/>
          </a:xfrm>
        </p:spPr>
        <p:txBody>
          <a:bodyPr anchor="ctr" anchorCtr="0">
            <a:normAutofit/>
          </a:bodyPr>
          <a:lstStyle>
            <a:lvl1pPr algn="ctr">
              <a:lnSpc>
                <a:spcPct val="150000"/>
              </a:lnSpc>
              <a:defRPr sz="3600"/>
            </a:lvl1pPr>
          </a:lstStyle>
          <a:p>
            <a:r>
              <a:rPr lang="zh-CN" altLang="en-US" dirty="0" smtClean="0"/>
              <a:t>编辑标题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79464" y="3925787"/>
            <a:ext cx="5535886" cy="557722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0CE79-49FB-443D-BEF8-6B709DE8FD0C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06490-237C-474C-BA2E-D98840BC1F8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115331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914113"/>
            <a:ext cx="6391582" cy="1749373"/>
          </a:xfrm>
          <a:ln>
            <a:solidFill>
              <a:schemeClr val="tx1"/>
            </a:solidFill>
          </a:ln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123768" y="4179476"/>
            <a:ext cx="6391582" cy="1749373"/>
          </a:xfrm>
          <a:ln>
            <a:solidFill>
              <a:schemeClr val="tx1"/>
            </a:solidFill>
          </a:ln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0CE79-49FB-443D-BEF8-6B709DE8FD0C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06490-237C-474C-BA2E-D98840BC1F8F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16037"/>
          </a:xfrm>
        </p:spPr>
        <p:txBody>
          <a:bodyPr/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E60F58-3108-4415-857A-6D0360DF626E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85CE2-CEAD-46BB-861E-7D62265DC969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直接连接符 17"/>
          <p:cNvCxnSpPr/>
          <p:nvPr>
            <p:custDataLst>
              <p:tags r:id="rId1"/>
            </p:custDataLst>
          </p:nvPr>
        </p:nvCxnSpPr>
        <p:spPr>
          <a:xfrm>
            <a:off x="1851820" y="4711248"/>
            <a:ext cx="55006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70856" y="1696059"/>
            <a:ext cx="5602289" cy="743038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zh-CN" altLang="en-US" dirty="0" smtClean="0"/>
              <a:t>编辑标题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0CE79-49FB-443D-BEF8-6B709DE8FD0C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06490-237C-474C-BA2E-D98840BC1F8F}" type="slidenum">
              <a:rPr lang="zh-CN" altLang="en-US" smtClean="0"/>
              <a:t>‹#›</a:t>
            </a:fld>
            <a:endParaRPr lang="zh-CN" altLang="en-US"/>
          </a:p>
        </p:txBody>
      </p:sp>
      <p:cxnSp>
        <p:nvCxnSpPr>
          <p:cNvPr id="6" name="直接连接符 5"/>
          <p:cNvCxnSpPr/>
          <p:nvPr>
            <p:custDataLst>
              <p:tags r:id="rId2"/>
            </p:custDataLst>
          </p:nvPr>
        </p:nvCxnSpPr>
        <p:spPr>
          <a:xfrm>
            <a:off x="1851820" y="4188825"/>
            <a:ext cx="550068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任意多边形 6"/>
          <p:cNvSpPr/>
          <p:nvPr>
            <p:custDataLst>
              <p:tags r:id="rId3"/>
            </p:custDataLst>
          </p:nvPr>
        </p:nvSpPr>
        <p:spPr>
          <a:xfrm>
            <a:off x="3180557" y="2468203"/>
            <a:ext cx="1376363" cy="1377950"/>
          </a:xfrm>
          <a:custGeom>
            <a:avLst/>
            <a:gdLst>
              <a:gd name="connsiteX0" fmla="*/ 766921 w 1533844"/>
              <a:gd name="connsiteY0" fmla="*/ 180973 h 1533842"/>
              <a:gd name="connsiteX1" fmla="*/ 180974 w 1533844"/>
              <a:gd name="connsiteY1" fmla="*/ 766920 h 1533842"/>
              <a:gd name="connsiteX2" fmla="*/ 766921 w 1533844"/>
              <a:gd name="connsiteY2" fmla="*/ 1352867 h 1533842"/>
              <a:gd name="connsiteX3" fmla="*/ 1352868 w 1533844"/>
              <a:gd name="connsiteY3" fmla="*/ 766920 h 1533842"/>
              <a:gd name="connsiteX4" fmla="*/ 766921 w 1533844"/>
              <a:gd name="connsiteY4" fmla="*/ 180973 h 1533842"/>
              <a:gd name="connsiteX5" fmla="*/ 766922 w 1533844"/>
              <a:gd name="connsiteY5" fmla="*/ 0 h 1533842"/>
              <a:gd name="connsiteX6" fmla="*/ 1533844 w 1533844"/>
              <a:gd name="connsiteY6" fmla="*/ 766921 h 1533842"/>
              <a:gd name="connsiteX7" fmla="*/ 766922 w 1533844"/>
              <a:gd name="connsiteY7" fmla="*/ 1533842 h 1533842"/>
              <a:gd name="connsiteX8" fmla="*/ 0 w 1533844"/>
              <a:gd name="connsiteY8" fmla="*/ 766921 h 1533842"/>
              <a:gd name="connsiteX9" fmla="*/ 766922 w 1533844"/>
              <a:gd name="connsiteY9" fmla="*/ 0 h 153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33844" h="1533842">
                <a:moveTo>
                  <a:pt x="766921" y="180973"/>
                </a:moveTo>
                <a:cubicBezTo>
                  <a:pt x="443311" y="180973"/>
                  <a:pt x="180974" y="443310"/>
                  <a:pt x="180974" y="766920"/>
                </a:cubicBezTo>
                <a:cubicBezTo>
                  <a:pt x="180974" y="1090530"/>
                  <a:pt x="443311" y="1352867"/>
                  <a:pt x="766921" y="1352867"/>
                </a:cubicBezTo>
                <a:cubicBezTo>
                  <a:pt x="1090531" y="1352867"/>
                  <a:pt x="1352868" y="1090530"/>
                  <a:pt x="1352868" y="766920"/>
                </a:cubicBezTo>
                <a:cubicBezTo>
                  <a:pt x="1352868" y="443310"/>
                  <a:pt x="1090531" y="180973"/>
                  <a:pt x="766921" y="180973"/>
                </a:cubicBezTo>
                <a:close/>
                <a:moveTo>
                  <a:pt x="766922" y="0"/>
                </a:moveTo>
                <a:cubicBezTo>
                  <a:pt x="1190481" y="0"/>
                  <a:pt x="1533844" y="343362"/>
                  <a:pt x="1533844" y="766921"/>
                </a:cubicBezTo>
                <a:cubicBezTo>
                  <a:pt x="1533844" y="1190480"/>
                  <a:pt x="1190481" y="1533842"/>
                  <a:pt x="766922" y="1533842"/>
                </a:cubicBezTo>
                <a:cubicBezTo>
                  <a:pt x="343363" y="1533842"/>
                  <a:pt x="0" y="1190480"/>
                  <a:pt x="0" y="766921"/>
                </a:cubicBezTo>
                <a:cubicBezTo>
                  <a:pt x="0" y="343362"/>
                  <a:pt x="343363" y="0"/>
                  <a:pt x="766922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8" name="椭圆 7"/>
          <p:cNvSpPr/>
          <p:nvPr>
            <p:custDataLst>
              <p:tags r:id="rId4"/>
            </p:custDataLst>
          </p:nvPr>
        </p:nvSpPr>
        <p:spPr>
          <a:xfrm>
            <a:off x="3261520" y="2552342"/>
            <a:ext cx="1214437" cy="1214437"/>
          </a:xfrm>
          <a:prstGeom prst="ellipse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9" name="任意多边形 8"/>
          <p:cNvSpPr/>
          <p:nvPr>
            <p:custDataLst>
              <p:tags r:id="rId5"/>
            </p:custDataLst>
          </p:nvPr>
        </p:nvSpPr>
        <p:spPr>
          <a:xfrm>
            <a:off x="4588669" y="2469791"/>
            <a:ext cx="1376362" cy="1376362"/>
          </a:xfrm>
          <a:custGeom>
            <a:avLst/>
            <a:gdLst>
              <a:gd name="connsiteX0" fmla="*/ 766921 w 1533844"/>
              <a:gd name="connsiteY0" fmla="*/ 180973 h 1533842"/>
              <a:gd name="connsiteX1" fmla="*/ 180974 w 1533844"/>
              <a:gd name="connsiteY1" fmla="*/ 766920 h 1533842"/>
              <a:gd name="connsiteX2" fmla="*/ 766921 w 1533844"/>
              <a:gd name="connsiteY2" fmla="*/ 1352867 h 1533842"/>
              <a:gd name="connsiteX3" fmla="*/ 1352868 w 1533844"/>
              <a:gd name="connsiteY3" fmla="*/ 766920 h 1533842"/>
              <a:gd name="connsiteX4" fmla="*/ 766921 w 1533844"/>
              <a:gd name="connsiteY4" fmla="*/ 180973 h 1533842"/>
              <a:gd name="connsiteX5" fmla="*/ 766922 w 1533844"/>
              <a:gd name="connsiteY5" fmla="*/ 0 h 1533842"/>
              <a:gd name="connsiteX6" fmla="*/ 1533844 w 1533844"/>
              <a:gd name="connsiteY6" fmla="*/ 766921 h 1533842"/>
              <a:gd name="connsiteX7" fmla="*/ 766922 w 1533844"/>
              <a:gd name="connsiteY7" fmla="*/ 1533842 h 1533842"/>
              <a:gd name="connsiteX8" fmla="*/ 0 w 1533844"/>
              <a:gd name="connsiteY8" fmla="*/ 766921 h 1533842"/>
              <a:gd name="connsiteX9" fmla="*/ 766922 w 1533844"/>
              <a:gd name="connsiteY9" fmla="*/ 0 h 153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33844" h="1533842">
                <a:moveTo>
                  <a:pt x="766921" y="180973"/>
                </a:moveTo>
                <a:cubicBezTo>
                  <a:pt x="443311" y="180973"/>
                  <a:pt x="180974" y="443310"/>
                  <a:pt x="180974" y="766920"/>
                </a:cubicBezTo>
                <a:cubicBezTo>
                  <a:pt x="180974" y="1090530"/>
                  <a:pt x="443311" y="1352867"/>
                  <a:pt x="766921" y="1352867"/>
                </a:cubicBezTo>
                <a:cubicBezTo>
                  <a:pt x="1090531" y="1352867"/>
                  <a:pt x="1352868" y="1090530"/>
                  <a:pt x="1352868" y="766920"/>
                </a:cubicBezTo>
                <a:cubicBezTo>
                  <a:pt x="1352868" y="443310"/>
                  <a:pt x="1090531" y="180973"/>
                  <a:pt x="766921" y="180973"/>
                </a:cubicBezTo>
                <a:close/>
                <a:moveTo>
                  <a:pt x="766922" y="0"/>
                </a:moveTo>
                <a:cubicBezTo>
                  <a:pt x="1190481" y="0"/>
                  <a:pt x="1533844" y="343362"/>
                  <a:pt x="1533844" y="766921"/>
                </a:cubicBezTo>
                <a:cubicBezTo>
                  <a:pt x="1533844" y="1190480"/>
                  <a:pt x="1190481" y="1533842"/>
                  <a:pt x="766922" y="1533842"/>
                </a:cubicBezTo>
                <a:cubicBezTo>
                  <a:pt x="343363" y="1533842"/>
                  <a:pt x="0" y="1190480"/>
                  <a:pt x="0" y="766921"/>
                </a:cubicBezTo>
                <a:cubicBezTo>
                  <a:pt x="0" y="343362"/>
                  <a:pt x="343363" y="0"/>
                  <a:pt x="766922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0" name="椭圆 9"/>
          <p:cNvSpPr/>
          <p:nvPr>
            <p:custDataLst>
              <p:tags r:id="rId6"/>
            </p:custDataLst>
          </p:nvPr>
        </p:nvSpPr>
        <p:spPr>
          <a:xfrm>
            <a:off x="4663281" y="2544403"/>
            <a:ext cx="1214438" cy="1214438"/>
          </a:xfrm>
          <a:prstGeom prst="ellipse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1" name="任意多边形 10"/>
          <p:cNvSpPr/>
          <p:nvPr>
            <p:custDataLst>
              <p:tags r:id="rId7"/>
            </p:custDataLst>
          </p:nvPr>
        </p:nvSpPr>
        <p:spPr>
          <a:xfrm>
            <a:off x="5996782" y="2469791"/>
            <a:ext cx="1376363" cy="1376362"/>
          </a:xfrm>
          <a:custGeom>
            <a:avLst/>
            <a:gdLst>
              <a:gd name="connsiteX0" fmla="*/ 766921 w 1533844"/>
              <a:gd name="connsiteY0" fmla="*/ 180973 h 1533842"/>
              <a:gd name="connsiteX1" fmla="*/ 180974 w 1533844"/>
              <a:gd name="connsiteY1" fmla="*/ 766920 h 1533842"/>
              <a:gd name="connsiteX2" fmla="*/ 766921 w 1533844"/>
              <a:gd name="connsiteY2" fmla="*/ 1352867 h 1533842"/>
              <a:gd name="connsiteX3" fmla="*/ 1352868 w 1533844"/>
              <a:gd name="connsiteY3" fmla="*/ 766920 h 1533842"/>
              <a:gd name="connsiteX4" fmla="*/ 766921 w 1533844"/>
              <a:gd name="connsiteY4" fmla="*/ 180973 h 1533842"/>
              <a:gd name="connsiteX5" fmla="*/ 766922 w 1533844"/>
              <a:gd name="connsiteY5" fmla="*/ 0 h 1533842"/>
              <a:gd name="connsiteX6" fmla="*/ 1533844 w 1533844"/>
              <a:gd name="connsiteY6" fmla="*/ 766921 h 1533842"/>
              <a:gd name="connsiteX7" fmla="*/ 766922 w 1533844"/>
              <a:gd name="connsiteY7" fmla="*/ 1533842 h 1533842"/>
              <a:gd name="connsiteX8" fmla="*/ 0 w 1533844"/>
              <a:gd name="connsiteY8" fmla="*/ 766921 h 1533842"/>
              <a:gd name="connsiteX9" fmla="*/ 766922 w 1533844"/>
              <a:gd name="connsiteY9" fmla="*/ 0 h 153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33844" h="1533842">
                <a:moveTo>
                  <a:pt x="766921" y="180973"/>
                </a:moveTo>
                <a:cubicBezTo>
                  <a:pt x="443311" y="180973"/>
                  <a:pt x="180974" y="443310"/>
                  <a:pt x="180974" y="766920"/>
                </a:cubicBezTo>
                <a:cubicBezTo>
                  <a:pt x="180974" y="1090530"/>
                  <a:pt x="443311" y="1352867"/>
                  <a:pt x="766921" y="1352867"/>
                </a:cubicBezTo>
                <a:cubicBezTo>
                  <a:pt x="1090531" y="1352867"/>
                  <a:pt x="1352868" y="1090530"/>
                  <a:pt x="1352868" y="766920"/>
                </a:cubicBezTo>
                <a:cubicBezTo>
                  <a:pt x="1352868" y="443310"/>
                  <a:pt x="1090531" y="180973"/>
                  <a:pt x="766921" y="180973"/>
                </a:cubicBezTo>
                <a:close/>
                <a:moveTo>
                  <a:pt x="766922" y="0"/>
                </a:moveTo>
                <a:cubicBezTo>
                  <a:pt x="1190481" y="0"/>
                  <a:pt x="1533844" y="343362"/>
                  <a:pt x="1533844" y="766921"/>
                </a:cubicBezTo>
                <a:cubicBezTo>
                  <a:pt x="1533844" y="1190480"/>
                  <a:pt x="1190481" y="1533842"/>
                  <a:pt x="766922" y="1533842"/>
                </a:cubicBezTo>
                <a:cubicBezTo>
                  <a:pt x="343363" y="1533842"/>
                  <a:pt x="0" y="1190480"/>
                  <a:pt x="0" y="766921"/>
                </a:cubicBezTo>
                <a:cubicBezTo>
                  <a:pt x="0" y="343362"/>
                  <a:pt x="343363" y="0"/>
                  <a:pt x="766922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2" name="椭圆 11"/>
          <p:cNvSpPr/>
          <p:nvPr>
            <p:custDataLst>
              <p:tags r:id="rId8"/>
            </p:custDataLst>
          </p:nvPr>
        </p:nvSpPr>
        <p:spPr>
          <a:xfrm>
            <a:off x="6077745" y="2544403"/>
            <a:ext cx="1214437" cy="1214438"/>
          </a:xfrm>
          <a:prstGeom prst="ellipse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3" name="任意多边形 12"/>
          <p:cNvSpPr/>
          <p:nvPr>
            <p:custDataLst>
              <p:tags r:id="rId9"/>
            </p:custDataLst>
          </p:nvPr>
        </p:nvSpPr>
        <p:spPr>
          <a:xfrm>
            <a:off x="1770856" y="2468203"/>
            <a:ext cx="1377950" cy="1377950"/>
          </a:xfrm>
          <a:custGeom>
            <a:avLst/>
            <a:gdLst>
              <a:gd name="connsiteX0" fmla="*/ 766921 w 1533844"/>
              <a:gd name="connsiteY0" fmla="*/ 180973 h 1533842"/>
              <a:gd name="connsiteX1" fmla="*/ 180974 w 1533844"/>
              <a:gd name="connsiteY1" fmla="*/ 766920 h 1533842"/>
              <a:gd name="connsiteX2" fmla="*/ 766921 w 1533844"/>
              <a:gd name="connsiteY2" fmla="*/ 1352867 h 1533842"/>
              <a:gd name="connsiteX3" fmla="*/ 1352868 w 1533844"/>
              <a:gd name="connsiteY3" fmla="*/ 766920 h 1533842"/>
              <a:gd name="connsiteX4" fmla="*/ 766921 w 1533844"/>
              <a:gd name="connsiteY4" fmla="*/ 180973 h 1533842"/>
              <a:gd name="connsiteX5" fmla="*/ 766922 w 1533844"/>
              <a:gd name="connsiteY5" fmla="*/ 0 h 1533842"/>
              <a:gd name="connsiteX6" fmla="*/ 1533844 w 1533844"/>
              <a:gd name="connsiteY6" fmla="*/ 766921 h 1533842"/>
              <a:gd name="connsiteX7" fmla="*/ 766922 w 1533844"/>
              <a:gd name="connsiteY7" fmla="*/ 1533842 h 1533842"/>
              <a:gd name="connsiteX8" fmla="*/ 0 w 1533844"/>
              <a:gd name="connsiteY8" fmla="*/ 766921 h 1533842"/>
              <a:gd name="connsiteX9" fmla="*/ 766922 w 1533844"/>
              <a:gd name="connsiteY9" fmla="*/ 0 h 1533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33844" h="1533842">
                <a:moveTo>
                  <a:pt x="766921" y="180973"/>
                </a:moveTo>
                <a:cubicBezTo>
                  <a:pt x="443311" y="180973"/>
                  <a:pt x="180974" y="443310"/>
                  <a:pt x="180974" y="766920"/>
                </a:cubicBezTo>
                <a:cubicBezTo>
                  <a:pt x="180974" y="1090530"/>
                  <a:pt x="443311" y="1352867"/>
                  <a:pt x="766921" y="1352867"/>
                </a:cubicBezTo>
                <a:cubicBezTo>
                  <a:pt x="1090531" y="1352867"/>
                  <a:pt x="1352868" y="1090530"/>
                  <a:pt x="1352868" y="766920"/>
                </a:cubicBezTo>
                <a:cubicBezTo>
                  <a:pt x="1352868" y="443310"/>
                  <a:pt x="1090531" y="180973"/>
                  <a:pt x="766921" y="180973"/>
                </a:cubicBezTo>
                <a:close/>
                <a:moveTo>
                  <a:pt x="766922" y="0"/>
                </a:moveTo>
                <a:cubicBezTo>
                  <a:pt x="1190481" y="0"/>
                  <a:pt x="1533844" y="343362"/>
                  <a:pt x="1533844" y="766921"/>
                </a:cubicBezTo>
                <a:cubicBezTo>
                  <a:pt x="1533844" y="1190480"/>
                  <a:pt x="1190481" y="1533842"/>
                  <a:pt x="766922" y="1533842"/>
                </a:cubicBezTo>
                <a:cubicBezTo>
                  <a:pt x="343363" y="1533842"/>
                  <a:pt x="0" y="1190480"/>
                  <a:pt x="0" y="766921"/>
                </a:cubicBezTo>
                <a:cubicBezTo>
                  <a:pt x="0" y="343362"/>
                  <a:pt x="343363" y="0"/>
                  <a:pt x="766922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  <a:effectLst>
            <a:outerShdw blurRad="50800" dist="38100" dir="2700000" algn="tl" rotWithShape="0">
              <a:schemeClr val="accent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4" name="椭圆 13"/>
          <p:cNvSpPr/>
          <p:nvPr>
            <p:custDataLst>
              <p:tags r:id="rId10"/>
            </p:custDataLst>
          </p:nvPr>
        </p:nvSpPr>
        <p:spPr>
          <a:xfrm>
            <a:off x="1851820" y="2552342"/>
            <a:ext cx="1216025" cy="1214437"/>
          </a:xfrm>
          <a:prstGeom prst="ellipse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7" name="内容占位符 16"/>
          <p:cNvSpPr>
            <a:spLocks noGrp="1"/>
          </p:cNvSpPr>
          <p:nvPr>
            <p:ph sz="quarter" idx="13" hasCustomPrompt="1"/>
          </p:nvPr>
        </p:nvSpPr>
        <p:spPr>
          <a:xfrm>
            <a:off x="1917700" y="4203289"/>
            <a:ext cx="5308600" cy="486697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zh-CN" altLang="en-US" dirty="0" smtClean="0"/>
              <a:t>添加副标题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0CE79-49FB-443D-BEF8-6B709DE8FD0C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06490-237C-474C-BA2E-D98840BC1F8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629841" y="711200"/>
            <a:ext cx="3196800" cy="1600200"/>
          </a:xfrm>
        </p:spPr>
        <p:txBody>
          <a:bodyPr anchor="t" anchorCtr="0">
            <a:normAutofit/>
          </a:bodyPr>
          <a:lstStyle>
            <a:lvl1pPr>
              <a:defRPr sz="3200"/>
            </a:lvl1pPr>
          </a:lstStyle>
          <a:p>
            <a:r>
              <a:rPr lang="zh-CN" altLang="en-US" dirty="0" smtClean="0"/>
              <a:t>单击此处编辑标题</a:t>
            </a:r>
            <a:endParaRPr lang="zh-CN" altLang="en-US" dirty="0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4014391" y="733425"/>
            <a:ext cx="4478400" cy="54036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629841" y="2311400"/>
            <a:ext cx="3196800" cy="3811588"/>
          </a:xfrm>
        </p:spPr>
        <p:txBody>
          <a:bodyPr>
            <a:normAutofit/>
          </a:bodyPr>
          <a:lstStyle>
            <a:lvl1pPr marL="0" indent="0">
              <a:buNone/>
              <a:defRPr sz="20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>
            <a:normAutofit/>
          </a:bodyPr>
          <a:lstStyle/>
          <a:p>
            <a:fld id="{6EF2F5ED-D19D-4097-92A9-D6092B3D6E68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A7AAEAA2-D029-4D23-B6D5-DE004B8B3ED2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14336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643182"/>
            <a:ext cx="7772400" cy="1500187"/>
          </a:xfrm>
        </p:spPr>
        <p:txBody>
          <a:bodyPr anchor="b"/>
          <a:lstStyle>
            <a:lvl1pPr marL="0" indent="0">
              <a:buNone/>
              <a:defRPr lang="zh-CN" altLang="en-US" sz="2800" smtClean="0">
                <a:effectLst/>
              </a:defRPr>
            </a:lvl1pPr>
            <a:lvl2pPr marL="457200" indent="0">
              <a:buNone/>
              <a:defRPr lang="zh-CN" altLang="en-US" sz="2400" smtClean="0">
                <a:effectLst/>
              </a:defRPr>
            </a:lvl2pPr>
            <a:lvl3pPr marL="914400" indent="0">
              <a:buNone/>
              <a:defRPr lang="zh-CN" altLang="en-US" sz="2000" smtClean="0">
                <a:effectLst/>
              </a:defRPr>
            </a:lvl3pPr>
            <a:lvl4pPr marL="1371600" indent="0">
              <a:buNone/>
              <a:defRPr lang="zh-CN" altLang="en-US" sz="1600" smtClean="0">
                <a:effectLst/>
              </a:defRPr>
            </a:lvl4pPr>
            <a:lvl5pPr marL="1828800" indent="0">
              <a:buNone/>
              <a:defRPr lang="zh-CN" altLang="en-US" sz="1400" dirty="0" smtClean="0">
                <a:effectLst/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eaLnBrk="1" latinLnBrk="0" hangingPunct="1"/>
            <a:r>
              <a:rPr kumimoji="0"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D0685E-ACB2-482E-9BA0-496CB38D2D1F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6FDA90-F39A-4D51-A381-012597088676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 cstate="print">
            <a:duotone>
              <a:schemeClr val="bg2"/>
              <a:srgbClr val="FFF1C1"/>
            </a:duotone>
            <a:lum bright="-10000" contrast="-30000"/>
          </a:blip>
          <a:stretch>
            <a:fillRect/>
          </a:stretch>
        </p:blipFill>
        <p:spPr>
          <a:xfrm>
            <a:off x="7480636" y="0"/>
            <a:ext cx="1663364" cy="2357430"/>
          </a:xfrm>
          <a:prstGeom prst="rect">
            <a:avLst/>
          </a:prstGeom>
          <a:noFill/>
          <a:ln>
            <a:noFill/>
          </a:ln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&#10;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946490" y="365125"/>
            <a:ext cx="1568860" cy="5811838"/>
          </a:xfrm>
        </p:spPr>
        <p:txBody>
          <a:bodyPr vert="eaVert"/>
          <a:lstStyle/>
          <a:p>
            <a:r>
              <a:rPr lang="zh-CN" altLang="en-US" dirty="0" smtClean="0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6170356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0CE79-49FB-443D-BEF8-6B709DE8FD0C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906490-237C-474C-BA2E-D98840BC1F8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>
            <a:normAutofit/>
          </a:bodyPr>
          <a:lstStyle/>
          <a:p>
            <a:fld id="{13D0CE79-49FB-443D-BEF8-6B709DE8FD0C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fld id="{EF906490-237C-474C-BA2E-D98840BC1F8F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内容占位符 5"/>
          <p:cNvSpPr>
            <a:spLocks noGrp="1"/>
          </p:cNvSpPr>
          <p:nvPr>
            <p:ph sz="quarter" idx="13"/>
          </p:nvPr>
        </p:nvSpPr>
        <p:spPr>
          <a:xfrm>
            <a:off x="628650" y="295275"/>
            <a:ext cx="7886700" cy="5913438"/>
          </a:xfr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0" y="0"/>
            <a:ext cx="655200" cy="6858000"/>
          </a:xfrm>
          <a:prstGeom prst="rect">
            <a:avLst/>
          </a:prstGeom>
          <a:blipFill>
            <a:blip r:embed="rId2" cstate="print">
              <a:alphaModFix amt="40000"/>
            </a:blip>
            <a:tile tx="0" ty="0" sx="50000" sy="50000" flip="x" algn="tl"/>
          </a:blip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D0685E-ACB2-482E-9BA0-496CB38D2D1F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6FDA90-F39A-4D51-A381-012597088676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duotone>
              <a:schemeClr val="bg2"/>
              <a:srgbClr val="FFF1C1"/>
            </a:duotone>
          </a:blip>
          <a:stretch>
            <a:fillRect/>
          </a:stretch>
        </p:blipFill>
        <p:spPr>
          <a:xfrm>
            <a:off x="8135907" y="0"/>
            <a:ext cx="1008093" cy="142873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/>
        </p:nvSpPr>
        <p:spPr>
          <a:xfrm>
            <a:off x="0" y="0"/>
            <a:ext cx="640800" cy="6858000"/>
          </a:xfrm>
          <a:prstGeom prst="rect">
            <a:avLst/>
          </a:prstGeom>
          <a:blipFill>
            <a:blip r:embed="rId2" cstate="print">
              <a:alphaModFix amt="40000"/>
            </a:blip>
            <a:tile tx="0" ty="0" sx="50000" sy="50000" flip="x" algn="tl"/>
          </a:blip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eaLnBrk="1" latinLnBrk="0" hangingPunct="1"/>
            <a:r>
              <a:rPr kumimoji="0"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eaLnBrk="1" latinLnBrk="0" hangingPunct="1"/>
            <a:r>
              <a:rPr kumimoji="0"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D0685E-ACB2-482E-9BA0-496CB38D2D1F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6FDA90-F39A-4D51-A381-012597088676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 cstate="print">
            <a:duotone>
              <a:schemeClr val="bg2"/>
              <a:srgbClr val="FFF1C1"/>
            </a:duotone>
          </a:blip>
          <a:stretch>
            <a:fillRect/>
          </a:stretch>
        </p:blipFill>
        <p:spPr>
          <a:xfrm>
            <a:off x="8135907" y="0"/>
            <a:ext cx="1008093" cy="142873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0" y="0"/>
            <a:ext cx="669600" cy="6858000"/>
          </a:xfrm>
          <a:prstGeom prst="rect">
            <a:avLst/>
          </a:prstGeom>
          <a:blipFill>
            <a:blip r:embed="rId2" cstate="print">
              <a:alphaModFix amt="40000"/>
            </a:blip>
            <a:tile tx="0" ty="0" sx="50000" sy="50000" flip="x" algn="tl"/>
          </a:blip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D0685E-ACB2-482E-9BA0-496CB38D2D1F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6FDA90-F39A-4D51-A381-012597088676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 cstate="print">
            <a:duotone>
              <a:schemeClr val="bg2"/>
              <a:srgbClr val="FFF1C1"/>
            </a:duotone>
          </a:blip>
          <a:stretch>
            <a:fillRect/>
          </a:stretch>
        </p:blipFill>
        <p:spPr>
          <a:xfrm>
            <a:off x="8135907" y="0"/>
            <a:ext cx="1008093" cy="142873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/>
          <p:cNvSpPr/>
          <p:nvPr/>
        </p:nvSpPr>
        <p:spPr>
          <a:xfrm>
            <a:off x="0" y="0"/>
            <a:ext cx="669600" cy="6858000"/>
          </a:xfrm>
          <a:prstGeom prst="rect">
            <a:avLst/>
          </a:prstGeom>
          <a:blipFill>
            <a:blip r:embed="rId2" cstate="print">
              <a:alphaModFix amt="40000"/>
            </a:blip>
            <a:tile tx="0" ty="0" sx="50000" sy="50000" flip="x" algn="tl"/>
          </a:blip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zh-CN" altLang="en-US"/>
          </a:p>
        </p:txBody>
      </p:sp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D0685E-ACB2-482E-9BA0-496CB38D2D1F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6FDA90-F39A-4D51-A381-012597088676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 cstate="print">
            <a:duotone>
              <a:schemeClr val="bg2"/>
              <a:srgbClr val="FFF1C1"/>
            </a:duotone>
          </a:blip>
          <a:stretch>
            <a:fillRect/>
          </a:stretch>
        </p:blipFill>
        <p:spPr>
          <a:xfrm>
            <a:off x="8135907" y="0"/>
            <a:ext cx="1008093" cy="142873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0" y="0"/>
            <a:ext cx="673200" cy="6858000"/>
          </a:xfrm>
          <a:prstGeom prst="rect">
            <a:avLst/>
          </a:prstGeom>
          <a:blipFill>
            <a:blip r:embed="rId2" cstate="print">
              <a:alphaModFix amt="40000"/>
            </a:blip>
            <a:tile tx="0" ty="0" sx="50000" sy="50000" flip="x" algn="tl"/>
          </a:blip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61175" y="5357826"/>
            <a:ext cx="8226225" cy="768028"/>
          </a:xfrm>
        </p:spPr>
        <p:txBody>
          <a:bodyPr anchor="ctr"/>
          <a:lstStyle>
            <a:lvl1pPr algn="ctr">
              <a:defRPr lang="zh-CN" altLang="en-US" sz="3600" b="0" kern="1200" spc="50" dirty="0">
                <a:ln w="12700">
                  <a:noFill/>
                  <a:prstDash val="solid"/>
                </a:ln>
                <a:solidFill>
                  <a:schemeClr val="accent4"/>
                </a:solidFill>
                <a:effectLst>
                  <a:outerShdw blurRad="38100" dist="20320" dir="2700000" algn="tl" rotWithShape="0">
                    <a:srgbClr val="000000">
                      <a:alpha val="70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60382" y="428604"/>
            <a:ext cx="5111750" cy="485778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5679086" y="1357298"/>
            <a:ext cx="3008313" cy="392909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eaLnBrk="1" latinLnBrk="0" hangingPunct="1"/>
            <a:r>
              <a:rPr lang="zh-CN" altLang="en-US" smtClean="0"/>
              <a:t>单击此处编辑母版文本样式</a:t>
            </a:r>
          </a:p>
          <a:p>
            <a:pPr lvl="1" eaLnBrk="1" latinLnBrk="0" hangingPunct="1"/>
            <a:r>
              <a:rPr lang="zh-CN" altLang="en-US" smtClean="0"/>
              <a:t>第二级</a:t>
            </a:r>
          </a:p>
          <a:p>
            <a:pPr lvl="2" eaLnBrk="1" latinLnBrk="0" hangingPunct="1"/>
            <a:r>
              <a:rPr lang="zh-CN" altLang="en-US" smtClean="0"/>
              <a:t>第三级</a:t>
            </a:r>
          </a:p>
          <a:p>
            <a:pPr lvl="3" eaLnBrk="1" latinLnBrk="0" hangingPunct="1"/>
            <a:r>
              <a:rPr lang="zh-CN" altLang="en-US" smtClean="0"/>
              <a:t>第四级</a:t>
            </a:r>
          </a:p>
          <a:p>
            <a:pPr lvl="4" eaLnBrk="1" latinLnBrk="0" hangingPunct="1"/>
            <a:r>
              <a:rPr lang="zh-CN" altLang="en-US" smtClean="0"/>
              <a:t>第五级</a:t>
            </a:r>
            <a:endParaRPr kumimoji="0" 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D0685E-ACB2-482E-9BA0-496CB38D2D1F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6FDA90-F39A-4D51-A381-012597088676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duotone>
              <a:schemeClr val="bg2"/>
              <a:srgbClr val="FFF1C1"/>
            </a:duotone>
          </a:blip>
          <a:stretch>
            <a:fillRect/>
          </a:stretch>
        </p:blipFill>
        <p:spPr>
          <a:xfrm>
            <a:off x="8135907" y="0"/>
            <a:ext cx="1008093" cy="142873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0" y="0"/>
            <a:ext cx="669600" cy="6858000"/>
          </a:xfrm>
          <a:prstGeom prst="rect">
            <a:avLst/>
          </a:prstGeom>
          <a:blipFill>
            <a:blip r:embed="rId2" cstate="print">
              <a:alphaModFix amt="40000"/>
            </a:blip>
            <a:tile tx="0" ty="0" sx="50000" sy="50000" flip="x" algn="tl"/>
          </a:blipFill>
          <a:ln w="25400" cap="rnd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95298" y="214290"/>
            <a:ext cx="7448602" cy="781052"/>
          </a:xfrm>
        </p:spPr>
        <p:txBody>
          <a:bodyPr anchor="ctr"/>
          <a:lstStyle>
            <a:lvl1pPr algn="ctr" rtl="0">
              <a:spcBef>
                <a:spcPct val="0"/>
              </a:spcBef>
              <a:buNone/>
              <a:defRPr sz="3600" b="0" kern="1200" spc="50">
                <a:ln w="12700">
                  <a:noFill/>
                  <a:prstDash val="solid"/>
                </a:ln>
                <a:solidFill>
                  <a:schemeClr val="accent4"/>
                </a:solidFill>
                <a:effectLst>
                  <a:outerShdw blurRad="38100" dist="20320" dir="2700000" algn="tl" rotWithShape="0">
                    <a:srgbClr val="000000">
                      <a:alpha val="70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681015" y="1000108"/>
            <a:ext cx="7452360" cy="5214974"/>
          </a:xfrm>
          <a:prstGeom prst="snip2DiagRect">
            <a:avLst>
              <a:gd name="adj1" fmla="val 0"/>
              <a:gd name="adj2" fmla="val 17946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zh-CN" altLang="en-US" smtClean="0"/>
              <a:t>单击图标添加图片</a:t>
            </a:r>
            <a:endParaRPr kumimoji="0" 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953000" y="6243633"/>
            <a:ext cx="3180375" cy="614367"/>
          </a:xfrm>
        </p:spPr>
        <p:txBody>
          <a:bodyPr anchor="t"/>
          <a:lstStyle>
            <a:lvl1pPr marL="0" indent="0" algn="r">
              <a:buNone/>
              <a:defRPr sz="1400"/>
            </a:lvl1pPr>
            <a:lvl2pPr marL="457200" indent="0" algn="r">
              <a:buNone/>
              <a:defRPr sz="1200"/>
            </a:lvl2pPr>
            <a:lvl3pPr marL="914400" indent="0" algn="r">
              <a:buNone/>
              <a:defRPr sz="1000"/>
            </a:lvl3pPr>
            <a:lvl4pPr marL="1371600" indent="0" algn="r">
              <a:buNone/>
              <a:defRPr sz="900"/>
            </a:lvl4pPr>
            <a:lvl5pPr marL="1828800" indent="0" algn="r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 eaLnBrk="1" latinLnBrk="0" hangingPunct="1"/>
            <a:r>
              <a:rPr kumimoji="0"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609600" y="6492878"/>
            <a:ext cx="1676384" cy="365125"/>
          </a:xfrm>
        </p:spPr>
        <p:txBody>
          <a:bodyPr/>
          <a:lstStyle/>
          <a:p>
            <a:fld id="{46D0685E-ACB2-482E-9BA0-496CB38D2D1F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2285984" y="6492876"/>
            <a:ext cx="2643206" cy="365125"/>
          </a:xfr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83073" y="5347005"/>
            <a:ext cx="871200" cy="871200"/>
          </a:xfrm>
          <a:prstGeom prst="rtTriangle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fld id="{806FDA90-F39A-4D51-A381-012597088676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3" cstate="print">
            <a:duotone>
              <a:schemeClr val="bg2"/>
              <a:srgbClr val="FFF1C1"/>
            </a:duotone>
          </a:blip>
          <a:stretch>
            <a:fillRect/>
          </a:stretch>
        </p:blipFill>
        <p:spPr>
          <a:xfrm>
            <a:off x="8135907" y="0"/>
            <a:ext cx="1008093" cy="1428736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image" Target="../media/image2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776000" cy="1143000"/>
          </a:xfrm>
          <a:prstGeom prst="rect">
            <a:avLst/>
          </a:prstGeom>
        </p:spPr>
        <p:txBody>
          <a:bodyPr vert="horz" rtlCol="0" anchor="ctr">
            <a:normAutofit/>
            <a:scene3d>
              <a:camera prst="orthographicFront"/>
              <a:lightRig rig="soft" dir="t"/>
            </a:scene3d>
            <a:sp3d prstMaterial="matte">
              <a:bevelT w="12700" h="12700"/>
            </a:sp3d>
          </a:bodyPr>
          <a:lstStyle/>
          <a:p>
            <a:r>
              <a:rPr kumimoji="0" lang="zh-CN" altLang="en-US" smtClean="0"/>
              <a:t>单击此处编辑母版标题样式</a:t>
            </a:r>
            <a:endParaRPr kumimoji="0" 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 eaLnBrk="1" latinLnBrk="0" hangingPunct="1"/>
            <a:r>
              <a:rPr kumimoji="0" lang="zh-CN" altLang="en-US" smtClean="0"/>
              <a:t>单击此处编辑母版文本样式</a:t>
            </a:r>
          </a:p>
          <a:p>
            <a:pPr lvl="1" eaLnBrk="1" latinLnBrk="0" hangingPunct="1"/>
            <a:r>
              <a:rPr kumimoji="0" lang="zh-CN" altLang="en-US" smtClean="0"/>
              <a:t>第二级</a:t>
            </a:r>
          </a:p>
          <a:p>
            <a:pPr lvl="2" eaLnBrk="1" latinLnBrk="0" hangingPunct="1"/>
            <a:r>
              <a:rPr kumimoji="0" lang="zh-CN" altLang="en-US" smtClean="0"/>
              <a:t>第三级</a:t>
            </a:r>
          </a:p>
          <a:p>
            <a:pPr lvl="3" eaLnBrk="1" latinLnBrk="0" hangingPunct="1"/>
            <a:r>
              <a:rPr kumimoji="0" lang="zh-CN" altLang="en-US" smtClean="0"/>
              <a:t>第四级</a:t>
            </a:r>
          </a:p>
          <a:p>
            <a:pPr lvl="4" eaLnBrk="1" latinLnBrk="0" hangingPunct="1"/>
            <a:r>
              <a:rPr kumimoji="0" lang="zh-CN" altLang="en-US" smtClean="0"/>
              <a:t>第五级</a:t>
            </a:r>
            <a:endParaRPr kumimoji="0" 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274320" rtlCol="0" anchor="ctr"/>
          <a:lstStyle>
            <a:lvl1pPr algn="l" eaLnBrk="1" latinLnBrk="0" hangingPunct="1">
              <a:defRPr kumimoji="0" sz="1200">
                <a:solidFill>
                  <a:schemeClr val="tx1"/>
                </a:solidFill>
              </a:defRPr>
            </a:lvl1pPr>
          </a:lstStyle>
          <a:p>
            <a:fld id="{46D0685E-ACB2-482E-9BA0-496CB38D2D1F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rtlCol="0" anchor="ctr"/>
          <a:lstStyle>
            <a:lvl1pPr algn="ctr" eaLnBrk="1" latinLnBrk="0" hangingPunct="1">
              <a:defRPr kumimoji="0" sz="1200">
                <a:solidFill>
                  <a:schemeClr val="tx1"/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45720" tIns="45720" rIns="45720" rtlCol="0" anchor="ctr"/>
          <a:lstStyle>
            <a:lvl1pPr algn="r" eaLnBrk="1" latinLnBrk="0" hangingPunct="1">
              <a:defRPr kumimoji="0" sz="1200">
                <a:solidFill>
                  <a:schemeClr val="tx1"/>
                </a:solidFill>
              </a:defRPr>
            </a:lvl1pPr>
          </a:lstStyle>
          <a:p>
            <a:fld id="{806FDA90-F39A-4D51-A381-01259708867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rtl="0" eaLnBrk="1" latinLnBrk="0" hangingPunct="1">
        <a:spcBef>
          <a:spcPct val="0"/>
        </a:spcBef>
        <a:buNone/>
        <a:defRPr kumimoji="0" lang="zh-CN" altLang="en-US" sz="4400" b="0" kern="1200" spc="50" dirty="0">
          <a:ln w="12700">
            <a:noFill/>
            <a:prstDash val="solid"/>
          </a:ln>
          <a:solidFill>
            <a:schemeClr val="accent4"/>
          </a:solidFill>
          <a:effectLst>
            <a:outerShdw blurRad="38100" dist="20320" dir="2700000" algn="tl" rotWithShape="0">
              <a:srgbClr val="000000">
                <a:alpha val="70000"/>
              </a:srgbClr>
            </a:outerShdw>
          </a:effectLst>
          <a:latin typeface="+mj-lt"/>
          <a:ea typeface="+mj-ea"/>
          <a:cs typeface="+mj-cs"/>
        </a:defRPr>
      </a:lvl1pPr>
      <a:lvl2pPr eaLnBrk="1" latinLnBrk="0" hangingPunct="1">
        <a:defRPr kumimoji="0">
          <a:solidFill>
            <a:schemeClr val="tx2"/>
          </a:solidFill>
        </a:defRPr>
      </a:lvl2pPr>
      <a:lvl3pPr eaLnBrk="1" latinLnBrk="0" hangingPunct="1">
        <a:defRPr kumimoji="0">
          <a:solidFill>
            <a:schemeClr val="tx2"/>
          </a:solidFill>
        </a:defRPr>
      </a:lvl3pPr>
      <a:lvl4pPr eaLnBrk="1" latinLnBrk="0" hangingPunct="1">
        <a:defRPr kumimoji="0">
          <a:solidFill>
            <a:schemeClr val="tx2"/>
          </a:solidFill>
        </a:defRPr>
      </a:lvl4pPr>
      <a:lvl5pPr eaLnBrk="1" latinLnBrk="0" hangingPunct="1">
        <a:defRPr kumimoji="0">
          <a:solidFill>
            <a:schemeClr val="tx2"/>
          </a:solidFill>
        </a:defRPr>
      </a:lvl5pPr>
      <a:lvl6pPr eaLnBrk="1" latinLnBrk="0" hangingPunct="1">
        <a:defRPr kumimoji="0">
          <a:solidFill>
            <a:schemeClr val="tx2"/>
          </a:solidFill>
        </a:defRPr>
      </a:lvl6pPr>
      <a:lvl7pPr eaLnBrk="1" latinLnBrk="0" hangingPunct="1">
        <a:defRPr kumimoji="0">
          <a:solidFill>
            <a:schemeClr val="tx2"/>
          </a:solidFill>
        </a:defRPr>
      </a:lvl7pPr>
      <a:lvl8pPr eaLnBrk="1" latinLnBrk="0" hangingPunct="1">
        <a:defRPr kumimoji="0">
          <a:solidFill>
            <a:schemeClr val="tx2"/>
          </a:solidFill>
        </a:defRPr>
      </a:lvl8pPr>
      <a:lvl9pPr eaLnBrk="1" latinLnBrk="0" hangingPunct="1">
        <a:defRPr kumimoji="0">
          <a:solidFill>
            <a:schemeClr val="tx2"/>
          </a:solidFill>
        </a:defRPr>
      </a:lvl9pPr>
    </p:titleStyle>
    <p:bodyStyle>
      <a:lvl1pPr marL="342900" indent="-342900" algn="l" rtl="0" eaLnBrk="1" latinLnBrk="0" hangingPunct="1">
        <a:spcBef>
          <a:spcPct val="20000"/>
        </a:spcBef>
        <a:buClr>
          <a:schemeClr val="tx2"/>
        </a:buClr>
        <a:buSzPct val="60000"/>
        <a:buFont typeface="Wingdings 2"/>
        <a:buChar char="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latinLnBrk="0" hangingPunct="1">
        <a:spcBef>
          <a:spcPct val="20000"/>
        </a:spcBef>
        <a:buClr>
          <a:schemeClr val="tx2"/>
        </a:buClr>
        <a:buSzPct val="60000"/>
        <a:buFont typeface="Wingdings 2"/>
        <a:buChar char="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latinLnBrk="0" hangingPunct="1">
        <a:spcBef>
          <a:spcPct val="20000"/>
        </a:spcBef>
        <a:buClr>
          <a:schemeClr val="tx2"/>
        </a:buClr>
        <a:buSzPct val="60000"/>
        <a:buFont typeface="Wingdings 2"/>
        <a:buChar char="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latinLnBrk="0" hangingPunct="1">
        <a:spcBef>
          <a:spcPct val="20000"/>
        </a:spcBef>
        <a:buClr>
          <a:schemeClr val="tx2"/>
        </a:buClr>
        <a:buSzPct val="60000"/>
        <a:buFont typeface="Wingdings 2"/>
        <a:buChar char="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latinLnBrk="0" hangingPunct="1">
        <a:spcBef>
          <a:spcPct val="20000"/>
        </a:spcBef>
        <a:buClr>
          <a:schemeClr val="tx2"/>
        </a:buClr>
        <a:buSzPct val="60000"/>
        <a:buFont typeface="Wingdings 2"/>
        <a:buChar char="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Font typeface="Arial"/>
        <a:buChar char="•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Font typeface="Arial"/>
        <a:buChar char="•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Font typeface="Arial"/>
        <a:buChar char="•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Font typeface="Arial"/>
        <a:buChar char="•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15" cstate="screen"/>
          <a:srcRect/>
          <a:stretch>
            <a:fillRect/>
          </a:stretch>
        </p:blipFill>
        <p:spPr>
          <a:xfrm>
            <a:off x="82124" y="71783"/>
            <a:ext cx="576064" cy="595266"/>
          </a:xfrm>
          <a:prstGeom prst="rect">
            <a:avLst/>
          </a:prstGeom>
        </p:spPr>
      </p:pic>
      <p:sp>
        <p:nvSpPr>
          <p:cNvPr id="2" name="标题占位符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761999" y="88214"/>
            <a:ext cx="7924801" cy="6140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 smtClean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457201" y="1052737"/>
            <a:ext cx="8229600" cy="50734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zh-CN" altLang="en-US" dirty="0" smtClean="0"/>
              <a:t>单击此处编辑文本</a:t>
            </a:r>
            <a:endParaRPr lang="en-US" altLang="zh-CN" sz="1800" dirty="0" smtClean="0"/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200">
                <a:solidFill>
                  <a:schemeClr val="bg1"/>
                </a:solidFill>
                <a:latin typeface="Arial" pitchFamily="34" charset="0"/>
                <a:ea typeface="黑体" pitchFamily="49" charset="-122"/>
                <a:cs typeface="Arial" pitchFamily="34" charset="0"/>
              </a:defRPr>
            </a:lvl1pPr>
          </a:lstStyle>
          <a:p>
            <a:fld id="{530820CF-B880-4189-942D-D702A7CBA730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1200">
                <a:solidFill>
                  <a:schemeClr val="bg1"/>
                </a:solidFill>
                <a:latin typeface="Arial" pitchFamily="34" charset="0"/>
                <a:ea typeface="黑体" pitchFamily="49" charset="-122"/>
                <a:cs typeface="Arial" pitchFamily="34" charset="0"/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200">
                <a:solidFill>
                  <a:schemeClr val="bg1"/>
                </a:solidFill>
                <a:latin typeface="Arial" pitchFamily="34" charset="0"/>
                <a:ea typeface="黑体" pitchFamily="49" charset="-122"/>
                <a:cs typeface="Arial" pitchFamily="34" charset="0"/>
              </a:defRPr>
            </a:lvl1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cxnSp>
        <p:nvCxnSpPr>
          <p:cNvPr id="12" name="直接连接符 11"/>
          <p:cNvCxnSpPr/>
          <p:nvPr/>
        </p:nvCxnSpPr>
        <p:spPr>
          <a:xfrm>
            <a:off x="0" y="764704"/>
            <a:ext cx="9144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xStyles>
    <p:titleStyle>
      <a:lvl1pPr algn="l" defTabSz="685800" rtl="0" eaLnBrk="1" latinLnBrk="0" hangingPunct="1">
        <a:spcBef>
          <a:spcPct val="0"/>
        </a:spcBef>
        <a:buNone/>
        <a:defRPr sz="3200" kern="1200">
          <a:solidFill>
            <a:schemeClr val="bg1"/>
          </a:solidFill>
          <a:latin typeface="Arial" pitchFamily="34" charset="0"/>
          <a:ea typeface="黑体" pitchFamily="49" charset="-122"/>
          <a:cs typeface="Arial" pitchFamily="34" charset="0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黑体" pitchFamily="49" charset="-122"/>
          <a:cs typeface="Arial" pitchFamily="34" charset="0"/>
        </a:defRPr>
      </a:lvl1pPr>
      <a:lvl2pPr marL="6000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黑体" pitchFamily="49" charset="-122"/>
          <a:cs typeface="Arial" pitchFamily="34" charset="0"/>
        </a:defRPr>
      </a:lvl2pPr>
      <a:lvl3pPr marL="900430" indent="-21463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黑体" pitchFamily="49" charset="-122"/>
          <a:cs typeface="Arial" pitchFamily="34" charset="0"/>
        </a:defRPr>
      </a:lvl3pPr>
      <a:lvl4pPr marL="1243330" indent="-21463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黑体" pitchFamily="49" charset="-122"/>
          <a:cs typeface="Arial" pitchFamily="34" charset="0"/>
        </a:defRPr>
      </a:lvl4pPr>
      <a:lvl5pPr marL="1586230" indent="-21463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黑体" pitchFamily="49" charset="-122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628650" y="365126"/>
            <a:ext cx="7886700" cy="11153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628650" y="1683657"/>
            <a:ext cx="7886700" cy="44933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D0CE79-49FB-443D-BEF8-6B709DE8FD0C}" type="datetimeFigureOut">
              <a:rPr lang="zh-CN" altLang="en-US" smtClean="0"/>
              <a:t>2016/7/14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906490-237C-474C-BA2E-D98840BC1F8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714500" indent="-3429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71700" indent="-3429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22.xml"/><Relationship Id="rId7" Type="http://schemas.openxmlformats.org/officeDocument/2006/relationships/slideLayout" Target="../slideLayouts/slideLayout27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hyperlink" Target="http://baike.sogou.com/lemma/ShowInnerLink.htm?lemmaId=684946&amp;ss_c=ssc.citiao.link" TargetMode="External"/><Relationship Id="rId7" Type="http://schemas.openxmlformats.org/officeDocument/2006/relationships/image" Target="../media/image26.jpeg"/><Relationship Id="rId2" Type="http://schemas.openxmlformats.org/officeDocument/2006/relationships/hyperlink" Target="http://baike.sogou.com/lemma/ShowInnerLink.htm?lemmaId=19203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baike.sogou.com/lemma/ShowInnerLink.htm?lemmaId=8218963&amp;ss_c=ssc.citiao.link" TargetMode="External"/><Relationship Id="rId5" Type="http://schemas.openxmlformats.org/officeDocument/2006/relationships/hyperlink" Target="http://baike.sogou.com/lemma/ShowInnerLink.htm?lemmaId=684946" TargetMode="External"/><Relationship Id="rId4" Type="http://schemas.openxmlformats.org/officeDocument/2006/relationships/hyperlink" Target="http://baike.sogou.com/lemma/ShowInnerLink.htm?lemmaId=830899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baike.sogou.com/lemma/ShowInnerLink.htm?lemmaId=68360822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hyperlink" Target="http://baike.sogou.com/lemma/ShowInnerLink.htm?lemmaId=408527&amp;ss_c=ssc.citiao.link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683895" y="908593"/>
            <a:ext cx="7772400" cy="1462666"/>
          </a:xfrm>
        </p:spPr>
        <p:txBody>
          <a:bodyPr>
            <a:normAutofit fontScale="90000"/>
          </a:bodyPr>
          <a:lstStyle/>
          <a:p>
            <a:r>
              <a:rPr lang="zh-CN" altLang="en-US" dirty="0" smtClean="0">
                <a:sym typeface="+mn-ea"/>
              </a:rPr>
              <a:t>廣州及珠三角經濟發展考察團</a:t>
            </a:r>
            <a:r>
              <a:rPr lang="zh-CN" altLang="en-US" dirty="0"/>
              <a:t/>
            </a:r>
            <a:br>
              <a:rPr lang="zh-CN" altLang="en-US" dirty="0"/>
            </a:br>
            <a:endParaRPr lang="zh-CN" altLang="en-US" dirty="0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143000" y="3430905"/>
            <a:ext cx="6858000" cy="1156335"/>
          </a:xfrm>
        </p:spPr>
        <p:txBody>
          <a:bodyPr>
            <a:normAutofit/>
          </a:bodyPr>
          <a:lstStyle/>
          <a:p>
            <a:r>
              <a:rPr lang="zh-CN" altLang="en-US" sz="2600" dirty="0" smtClean="0">
                <a:solidFill>
                  <a:schemeClr val="accent1">
                    <a:lumMod val="60000"/>
                    <a:lumOff val="40000"/>
                  </a:schemeClr>
                </a:solidFill>
                <a:sym typeface="+mn-ea"/>
              </a:rPr>
              <a:t>組員</a:t>
            </a:r>
          </a:p>
          <a:p>
            <a:r>
              <a:rPr lang="zh-CN" altLang="en-US" sz="2600" dirty="0" smtClean="0">
                <a:sym typeface="+mn-ea"/>
              </a:rPr>
              <a:t>陳森亮，陳志超，陳昌正，魏泰俊，吳昱樹</a:t>
            </a:r>
            <a:endParaRPr lang="zh-CN" altLang="en-US" sz="2600" dirty="0">
              <a:solidFill>
                <a:schemeClr val="tx1"/>
              </a:solidFill>
            </a:endParaRPr>
          </a:p>
          <a:p>
            <a:endParaRPr lang="en-US" altLang="zh-CN" dirty="0">
              <a:sym typeface="+mn-lt"/>
            </a:endParaRPr>
          </a:p>
        </p:txBody>
      </p:sp>
    </p:spTree>
    <p:custDataLst>
      <p:tags r:id="rId1"/>
    </p:custData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組員感言</a:t>
            </a:r>
            <a:r>
              <a:rPr lang="en-US" altLang="zh-CN" dirty="0"/>
              <a:t>-</a:t>
            </a:r>
            <a:r>
              <a:rPr dirty="0"/>
              <a:t>陳森亮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zh-CN" altLang="en-US" sz="240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參觀了廣州圖書館之後，相對深圳圖書館和香港圖書館來說，它更加優秀。因為廣州圖書館的建築的設計十分精緻且地方十分空曠，人口密度較少，噪音自然就少。書的種類很齊全，地方乾淨等特點，是深圳和香港圖書館不能比的 ，希望還有機會參觀廣州圖書館。</a:t>
            </a:r>
          </a:p>
          <a:p>
            <a:r>
              <a:rPr lang="zh-CN" altLang="en-US" sz="240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當我站在花城廣場抬頭望著整個廣州塔時，頓時肅然起敬，由此，就可感受到廣州的經濟發展速度，當我知道它是世界第三的旅遊觀光塔時，一種佩服之情湧上心頭，聽說上面還有跳樓機，希望下次有機會</a:t>
            </a:r>
            <a:r>
              <a:rPr lang="zh-CN" altLang="en-US" sz="2400" dirty="0" smtClean="0">
                <a:solidFill>
                  <a:schemeClr val="bg2">
                    <a:lumMod val="50000"/>
                    <a:lumOff val="50000"/>
                  </a:schemeClr>
                </a:solidFill>
              </a:rPr>
              <a:t>去</a:t>
            </a:r>
            <a:r>
              <a:rPr lang="zh-TW" altLang="en-US" sz="2400" dirty="0" smtClean="0">
                <a:solidFill>
                  <a:schemeClr val="bg2">
                    <a:lumMod val="50000"/>
                    <a:lumOff val="50000"/>
                  </a:schemeClr>
                </a:solidFill>
              </a:rPr>
              <a:t>考察</a:t>
            </a:r>
            <a:r>
              <a:rPr lang="zh-CN" altLang="en-US" sz="2400" dirty="0" smtClean="0">
                <a:solidFill>
                  <a:schemeClr val="bg2">
                    <a:lumMod val="50000"/>
                    <a:lumOff val="50000"/>
                  </a:schemeClr>
                </a:solidFill>
              </a:rPr>
              <a:t>。</a:t>
            </a:r>
            <a:endParaRPr lang="zh-CN" altLang="en-US" sz="2400" dirty="0">
              <a:solidFill>
                <a:schemeClr val="bg2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p:transition>
    <p:wedg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>
                <a:sym typeface="+mn-ea"/>
              </a:rPr>
              <a:t>組長感言</a:t>
            </a:r>
            <a:r>
              <a:rPr lang="en-US" altLang="zh-CN">
                <a:sym typeface="+mn-ea"/>
              </a:rPr>
              <a:t>-</a:t>
            </a:r>
            <a:r>
              <a:rPr>
                <a:sym typeface="+mn-ea"/>
              </a:rPr>
              <a:t>吳昱樹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zh-CN" altLang="en-US" sz="240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廣州塔給我的第一印象就只有一個字，高。下粗中細上粗的外貌令我震驚，不知一開始在在建造時是如何建造出來的。最頂端的那一小節尖塔上還有最高的跳樓機，真不敢想像膽子多大的人才敢去玩。</a:t>
            </a:r>
          </a:p>
          <a:p>
            <a:r>
              <a:rPr lang="zh-CN" altLang="en-US" sz="2400" dirty="0">
                <a:solidFill>
                  <a:schemeClr val="bg2">
                    <a:lumMod val="50000"/>
                    <a:lumOff val="50000"/>
                  </a:schemeClr>
                </a:solidFill>
              </a:rPr>
              <a:t>剛一進入圖書館就有一股書香迎面撲來，圖書館中充滿了學習與閱讀的氛圍。進入圖書館前身上的包包還要進行安全檢查，為了書本的安全也是非常嚴厲。圖書管9層的高度也令我驚訝，每一層的書至少也有上萬本。我難以想像整個圖書館一共有多少本書，我也不敢想像讀完整個圖書館的書要多少年。</a:t>
            </a:r>
          </a:p>
        </p:txBody>
      </p:sp>
    </p:spTree>
  </p:cSld>
  <p:clrMapOvr>
    <a:masterClrMapping/>
  </p:clrMapOvr>
  <p:transition>
    <p:pull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組員感言</a:t>
            </a:r>
            <a:r>
              <a:rPr lang="en-US" altLang="zh-CN"/>
              <a:t>-</a:t>
            </a:r>
            <a:r>
              <a:t>魏泰俊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zh-CN" altLang="en-US" sz="2400" dirty="0" smtClean="0">
                <a:solidFill>
                  <a:schemeClr val="bg2">
                    <a:lumMod val="50000"/>
                    <a:lumOff val="50000"/>
                  </a:schemeClr>
                </a:solidFill>
              </a:rPr>
              <a:t>廣州塔的形狀好似一個沙漏，有著苗條的“腰部”，所以也被尊稱為 小蠻腰。此外，它還十分高大雄偉，位於頂部的球球其實是可載人的觀光電梯，真想進去試一下</a:t>
            </a:r>
          </a:p>
          <a:p>
            <a:r>
              <a:rPr lang="zh-CN" altLang="en-US" sz="2400" dirty="0" smtClean="0">
                <a:solidFill>
                  <a:schemeClr val="bg2">
                    <a:lumMod val="50000"/>
                    <a:lumOff val="50000"/>
                  </a:schemeClr>
                </a:solidFill>
              </a:rPr>
              <a:t>外觀宏偉，高達9層的圖書館帶給了我十足的震撼。裡面十分安靜，有很多人在裡面學習或查閱資料，環繞著一股書香，學習氛圍也很好。而且每一層都有成千上萬的書本，種類也各有不同，真是應有盡有啊！</a:t>
            </a:r>
            <a:endParaRPr lang="zh-CN" altLang="en-US" sz="2400" dirty="0">
              <a:solidFill>
                <a:schemeClr val="bg2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組員感言</a:t>
            </a:r>
            <a:r>
              <a:rPr lang="en-US" altLang="zh-CN"/>
              <a:t>-</a:t>
            </a:r>
            <a:r>
              <a:t>陳志超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sz="2400" dirty="0" smtClean="0">
                <a:solidFill>
                  <a:schemeClr val="bg2">
                    <a:lumMod val="50000"/>
                    <a:lumOff val="50000"/>
                  </a:schemeClr>
                </a:solidFill>
              </a:rPr>
              <a:t>我覺得這次的廣州行讓我見識到了許多知識，如古代墨水畫的藝術，汽車的製作過程，廣州經濟的發展，旅遊業的知識，廣州著名建築廣州塔和其他建築。其中我感想最深刻得還是廣州的圖書館，圖書館高9層，每一層有不同的書籍每層你都看見正在努力看書的人。這不禁讓我感歎到這裡的人是多麼認真！怪不得廣州的經濟能發展如此之快甚至超過香港</a:t>
            </a:r>
            <a:r>
              <a:rPr lang="zh-CN" altLang="en-US" dirty="0" smtClean="0">
                <a:solidFill>
                  <a:schemeClr val="bg2">
                    <a:lumMod val="50000"/>
                    <a:lumOff val="50000"/>
                  </a:schemeClr>
                </a:solidFill>
              </a:rPr>
              <a:t>。</a:t>
            </a:r>
            <a:endParaRPr lang="zh-CN" altLang="en-US" dirty="0">
              <a:solidFill>
                <a:schemeClr val="bg2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p:transition>
    <p:split orient="vert" dir="in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組員感言</a:t>
            </a:r>
            <a:r>
              <a:rPr lang="en-US" altLang="zh-CN"/>
              <a:t>-</a:t>
            </a:r>
            <a:r>
              <a:t>陳昌正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bg2">
                    <a:lumMod val="50000"/>
                    <a:lumOff val="50000"/>
                  </a:schemeClr>
                </a:solidFill>
              </a:rPr>
              <a:t> </a:t>
            </a:r>
            <a:r>
              <a:rPr lang="zh-CN" altLang="en-US" sz="2400" dirty="0" smtClean="0">
                <a:solidFill>
                  <a:schemeClr val="bg2">
                    <a:lumMod val="50000"/>
                    <a:lumOff val="50000"/>
                  </a:schemeClr>
                </a:solidFill>
              </a:rPr>
              <a:t>廣州塔是一座集旅遊觀光、餐飲、文化娛樂和環保科普教育等多功能於一體的塔，感覺非常雄偉，還有上面的設施也很齊全，廣州發展的很好，基建齊全，毫不遜色於香港等城市，深刻感受到了廣州經濟</a:t>
            </a:r>
            <a:r>
              <a:rPr lang="zh-CN" altLang="en-US" sz="2400" dirty="0" smtClean="0">
                <a:solidFill>
                  <a:schemeClr val="bg2">
                    <a:lumMod val="50000"/>
                    <a:lumOff val="50000"/>
                  </a:schemeClr>
                </a:solidFill>
                <a:sym typeface="+mn-ea"/>
              </a:rPr>
              <a:t>快速發展。</a:t>
            </a:r>
            <a:endParaRPr lang="en-US" altLang="zh-CN" sz="2400" dirty="0" smtClean="0">
              <a:solidFill>
                <a:schemeClr val="bg2">
                  <a:lumMod val="50000"/>
                  <a:lumOff val="50000"/>
                </a:schemeClr>
              </a:solidFill>
              <a:sym typeface="+mn-ea"/>
            </a:endParaRPr>
          </a:p>
          <a:p>
            <a:r>
              <a:rPr lang="zh-CN" altLang="en-US" sz="2400" dirty="0" smtClean="0">
                <a:solidFill>
                  <a:schemeClr val="bg2">
                    <a:lumMod val="50000"/>
                    <a:lumOff val="50000"/>
                  </a:schemeClr>
                </a:solidFill>
              </a:rPr>
              <a:t>廣州新圖書館十分安靜，各類書籍都有，感覺就像知識的海洋，可以學到很多東西，還有看到廣州圖書館的科技化十分發達，給我了不小的震驚，同時也感歎廣州快速發展和科技全面化取得了巨大的成功。</a:t>
            </a:r>
            <a:endParaRPr lang="zh-CN" altLang="en-US" sz="2400" dirty="0">
              <a:solidFill>
                <a:schemeClr val="bg2">
                  <a:lumMod val="50000"/>
                  <a:lumOff val="50000"/>
                </a:schemeClr>
              </a:solidFill>
            </a:endParaRPr>
          </a:p>
        </p:txBody>
      </p:sp>
    </p:spTree>
  </p:cSld>
  <p:clrMapOvr>
    <a:masterClrMapping/>
  </p:clrMapOvr>
  <p:transition>
    <p:pull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文本框 4"/>
          <p:cNvSpPr/>
          <p:nvPr>
            <p:custDataLst>
              <p:tags r:id="rId2"/>
            </p:custDataLst>
          </p:nvPr>
        </p:nvSpPr>
        <p:spPr bwMode="auto">
          <a:xfrm>
            <a:off x="3634657" y="2922843"/>
            <a:ext cx="442913" cy="440531"/>
          </a:xfrm>
          <a:custGeom>
            <a:avLst/>
            <a:gdLst>
              <a:gd name="T0" fmla="*/ 232172 w 591741"/>
              <a:gd name="T1" fmla="*/ 336352 h 586680"/>
              <a:gd name="T2" fmla="*/ 298847 w 591741"/>
              <a:gd name="T3" fmla="*/ 300633 h 586680"/>
              <a:gd name="T4" fmla="*/ 232172 w 591741"/>
              <a:gd name="T5" fmla="*/ 213717 h 586680"/>
              <a:gd name="T6" fmla="*/ 298847 w 591741"/>
              <a:gd name="T7" fmla="*/ 249436 h 586680"/>
              <a:gd name="T8" fmla="*/ 232172 w 591741"/>
              <a:gd name="T9" fmla="*/ 213717 h 586680"/>
              <a:gd name="T10" fmla="*/ 232172 w 591741"/>
              <a:gd name="T11" fmla="*/ 162520 h 586680"/>
              <a:gd name="T12" fmla="*/ 298847 w 591741"/>
              <a:gd name="T13" fmla="*/ 126802 h 586680"/>
              <a:gd name="T14" fmla="*/ 75010 w 591741"/>
              <a:gd name="T15" fmla="*/ 10716 h 586680"/>
              <a:gd name="T16" fmla="*/ 77986 w 591741"/>
              <a:gd name="T17" fmla="*/ 154781 h 586680"/>
              <a:gd name="T18" fmla="*/ 75010 w 591741"/>
              <a:gd name="T19" fmla="*/ 10716 h 586680"/>
              <a:gd name="T20" fmla="*/ 551260 w 591741"/>
              <a:gd name="T21" fmla="*/ 10120 h 586680"/>
              <a:gd name="T22" fmla="*/ 591741 w 591741"/>
              <a:gd name="T23" fmla="*/ 116681 h 586680"/>
              <a:gd name="T24" fmla="*/ 551260 w 591741"/>
              <a:gd name="T25" fmla="*/ 193477 h 586680"/>
              <a:gd name="T26" fmla="*/ 534293 w 591741"/>
              <a:gd name="T27" fmla="*/ 557957 h 586680"/>
              <a:gd name="T28" fmla="*/ 407789 w 591741"/>
              <a:gd name="T29" fmla="*/ 585192 h 586680"/>
              <a:gd name="T30" fmla="*/ 447675 w 591741"/>
              <a:gd name="T31" fmla="*/ 510183 h 586680"/>
              <a:gd name="T32" fmla="*/ 478036 w 591741"/>
              <a:gd name="T33" fmla="*/ 193477 h 586680"/>
              <a:gd name="T34" fmla="*/ 383977 w 591741"/>
              <a:gd name="T35" fmla="*/ 116681 h 586680"/>
              <a:gd name="T36" fmla="*/ 478036 w 591741"/>
              <a:gd name="T37" fmla="*/ 10120 h 586680"/>
              <a:gd name="T38" fmla="*/ 320874 w 591741"/>
              <a:gd name="T39" fmla="*/ 8930 h 586680"/>
              <a:gd name="T40" fmla="*/ 370285 w 591741"/>
              <a:gd name="T41" fmla="*/ 64889 h 586680"/>
              <a:gd name="T42" fmla="*/ 426839 w 591741"/>
              <a:gd name="T43" fmla="*/ 234553 h 586680"/>
              <a:gd name="T44" fmla="*/ 410170 w 591741"/>
              <a:gd name="T45" fmla="*/ 398859 h 586680"/>
              <a:gd name="T46" fmla="*/ 370285 w 591741"/>
              <a:gd name="T47" fmla="*/ 504825 h 586680"/>
              <a:gd name="T48" fmla="*/ 309563 w 591741"/>
              <a:gd name="T49" fmla="*/ 586085 h 586680"/>
              <a:gd name="T50" fmla="*/ 223242 w 591741"/>
              <a:gd name="T51" fmla="*/ 515541 h 586680"/>
              <a:gd name="T52" fmla="*/ 298847 w 591741"/>
              <a:gd name="T53" fmla="*/ 492919 h 586680"/>
              <a:gd name="T54" fmla="*/ 168474 w 591741"/>
              <a:gd name="T55" fmla="*/ 548283 h 586680"/>
              <a:gd name="T56" fmla="*/ 63699 w 591741"/>
              <a:gd name="T57" fmla="*/ 584597 h 586680"/>
              <a:gd name="T58" fmla="*/ 39886 w 591741"/>
              <a:gd name="T59" fmla="*/ 482798 h 586680"/>
              <a:gd name="T60" fmla="*/ 0 w 591741"/>
              <a:gd name="T61" fmla="*/ 258961 h 586680"/>
              <a:gd name="T62" fmla="*/ 111919 w 591741"/>
              <a:gd name="T63" fmla="*/ 181570 h 586680"/>
              <a:gd name="T64" fmla="*/ 160735 w 591741"/>
              <a:gd name="T65" fmla="*/ 420291 h 586680"/>
              <a:gd name="T66" fmla="*/ 257473 w 591741"/>
              <a:gd name="T67" fmla="*/ 398264 h 586680"/>
              <a:gd name="T68" fmla="*/ 133945 w 591741"/>
              <a:gd name="T69" fmla="*/ 336352 h 586680"/>
              <a:gd name="T70" fmla="*/ 160735 w 591741"/>
              <a:gd name="T71" fmla="*/ 64889 h 586680"/>
              <a:gd name="T72" fmla="*/ 233958 w 591741"/>
              <a:gd name="T73" fmla="*/ 0 h 586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591741" h="586680">
                <a:moveTo>
                  <a:pt x="232172" y="300633"/>
                </a:moveTo>
                <a:lnTo>
                  <a:pt x="232172" y="336352"/>
                </a:lnTo>
                <a:lnTo>
                  <a:pt x="298847" y="336352"/>
                </a:lnTo>
                <a:lnTo>
                  <a:pt x="298847" y="300633"/>
                </a:lnTo>
                <a:lnTo>
                  <a:pt x="232172" y="300633"/>
                </a:lnTo>
                <a:close/>
                <a:moveTo>
                  <a:pt x="232172" y="213717"/>
                </a:moveTo>
                <a:lnTo>
                  <a:pt x="232172" y="249436"/>
                </a:lnTo>
                <a:lnTo>
                  <a:pt x="298847" y="249436"/>
                </a:lnTo>
                <a:lnTo>
                  <a:pt x="298847" y="213717"/>
                </a:lnTo>
                <a:lnTo>
                  <a:pt x="232172" y="213717"/>
                </a:lnTo>
                <a:close/>
                <a:moveTo>
                  <a:pt x="232172" y="126802"/>
                </a:moveTo>
                <a:lnTo>
                  <a:pt x="232172" y="162520"/>
                </a:lnTo>
                <a:lnTo>
                  <a:pt x="298847" y="162520"/>
                </a:lnTo>
                <a:lnTo>
                  <a:pt x="298847" y="126802"/>
                </a:lnTo>
                <a:lnTo>
                  <a:pt x="232172" y="126802"/>
                </a:lnTo>
                <a:close/>
                <a:moveTo>
                  <a:pt x="75010" y="10716"/>
                </a:moveTo>
                <a:cubicBezTo>
                  <a:pt x="101600" y="46037"/>
                  <a:pt x="125214" y="80169"/>
                  <a:pt x="145852" y="113109"/>
                </a:cubicBezTo>
                <a:cubicBezTo>
                  <a:pt x="124024" y="126206"/>
                  <a:pt x="101402" y="140097"/>
                  <a:pt x="77986" y="154781"/>
                </a:cubicBezTo>
                <a:cubicBezTo>
                  <a:pt x="57349" y="116284"/>
                  <a:pt x="35520" y="80764"/>
                  <a:pt x="12502" y="48220"/>
                </a:cubicBezTo>
                <a:lnTo>
                  <a:pt x="75010" y="10716"/>
                </a:lnTo>
                <a:close/>
                <a:moveTo>
                  <a:pt x="478036" y="10120"/>
                </a:moveTo>
                <a:lnTo>
                  <a:pt x="551260" y="10120"/>
                </a:lnTo>
                <a:lnTo>
                  <a:pt x="551260" y="116681"/>
                </a:lnTo>
                <a:lnTo>
                  <a:pt x="591741" y="116681"/>
                </a:lnTo>
                <a:lnTo>
                  <a:pt x="591741" y="193477"/>
                </a:lnTo>
                <a:lnTo>
                  <a:pt x="551260" y="193477"/>
                </a:lnTo>
                <a:lnTo>
                  <a:pt x="551260" y="490538"/>
                </a:lnTo>
                <a:cubicBezTo>
                  <a:pt x="551260" y="520105"/>
                  <a:pt x="545604" y="542578"/>
                  <a:pt x="534293" y="557957"/>
                </a:cubicBezTo>
                <a:cubicBezTo>
                  <a:pt x="522982" y="573336"/>
                  <a:pt x="507008" y="581670"/>
                  <a:pt x="486370" y="582960"/>
                </a:cubicBezTo>
                <a:cubicBezTo>
                  <a:pt x="465733" y="584250"/>
                  <a:pt x="439539" y="584994"/>
                  <a:pt x="407789" y="585192"/>
                </a:cubicBezTo>
                <a:cubicBezTo>
                  <a:pt x="404614" y="558602"/>
                  <a:pt x="399653" y="533003"/>
                  <a:pt x="392906" y="508397"/>
                </a:cubicBezTo>
                <a:cubicBezTo>
                  <a:pt x="410766" y="509588"/>
                  <a:pt x="429022" y="510183"/>
                  <a:pt x="447675" y="510183"/>
                </a:cubicBezTo>
                <a:cubicBezTo>
                  <a:pt x="467916" y="510183"/>
                  <a:pt x="478036" y="499269"/>
                  <a:pt x="478036" y="477441"/>
                </a:cubicBezTo>
                <a:lnTo>
                  <a:pt x="478036" y="193477"/>
                </a:lnTo>
                <a:lnTo>
                  <a:pt x="383977" y="193477"/>
                </a:lnTo>
                <a:lnTo>
                  <a:pt x="383977" y="116681"/>
                </a:lnTo>
                <a:lnTo>
                  <a:pt x="478036" y="116681"/>
                </a:lnTo>
                <a:lnTo>
                  <a:pt x="478036" y="10120"/>
                </a:lnTo>
                <a:close/>
                <a:moveTo>
                  <a:pt x="233958" y="0"/>
                </a:moveTo>
                <a:lnTo>
                  <a:pt x="320874" y="8930"/>
                </a:lnTo>
                <a:cubicBezTo>
                  <a:pt x="312539" y="27384"/>
                  <a:pt x="303808" y="46037"/>
                  <a:pt x="294680" y="64889"/>
                </a:cubicBezTo>
                <a:lnTo>
                  <a:pt x="370285" y="64889"/>
                </a:lnTo>
                <a:lnTo>
                  <a:pt x="370285" y="255091"/>
                </a:lnTo>
                <a:lnTo>
                  <a:pt x="426839" y="234553"/>
                </a:lnTo>
                <a:cubicBezTo>
                  <a:pt x="448667" y="288925"/>
                  <a:pt x="464939" y="336153"/>
                  <a:pt x="475655" y="376237"/>
                </a:cubicBezTo>
                <a:lnTo>
                  <a:pt x="410170" y="398859"/>
                </a:lnTo>
                <a:cubicBezTo>
                  <a:pt x="398463" y="357386"/>
                  <a:pt x="385167" y="314127"/>
                  <a:pt x="370285" y="269081"/>
                </a:cubicBezTo>
                <a:lnTo>
                  <a:pt x="370285" y="504825"/>
                </a:lnTo>
                <a:cubicBezTo>
                  <a:pt x="370285" y="531614"/>
                  <a:pt x="364976" y="551755"/>
                  <a:pt x="354360" y="565249"/>
                </a:cubicBezTo>
                <a:cubicBezTo>
                  <a:pt x="343743" y="578743"/>
                  <a:pt x="328811" y="585688"/>
                  <a:pt x="309563" y="586085"/>
                </a:cubicBezTo>
                <a:cubicBezTo>
                  <a:pt x="290314" y="586482"/>
                  <a:pt x="266105" y="586680"/>
                  <a:pt x="236935" y="586680"/>
                </a:cubicBezTo>
                <a:cubicBezTo>
                  <a:pt x="233363" y="563066"/>
                  <a:pt x="228799" y="539353"/>
                  <a:pt x="223242" y="515541"/>
                </a:cubicBezTo>
                <a:cubicBezTo>
                  <a:pt x="245070" y="518319"/>
                  <a:pt x="262136" y="519708"/>
                  <a:pt x="274439" y="519708"/>
                </a:cubicBezTo>
                <a:cubicBezTo>
                  <a:pt x="290711" y="519708"/>
                  <a:pt x="298847" y="510778"/>
                  <a:pt x="298847" y="492919"/>
                </a:cubicBezTo>
                <a:lnTo>
                  <a:pt x="298847" y="439936"/>
                </a:lnTo>
                <a:cubicBezTo>
                  <a:pt x="257969" y="484188"/>
                  <a:pt x="214511" y="520303"/>
                  <a:pt x="168474" y="548283"/>
                </a:cubicBezTo>
                <a:cubicBezTo>
                  <a:pt x="162322" y="539155"/>
                  <a:pt x="155178" y="529729"/>
                  <a:pt x="147042" y="520005"/>
                </a:cubicBezTo>
                <a:cubicBezTo>
                  <a:pt x="113308" y="543421"/>
                  <a:pt x="85527" y="564952"/>
                  <a:pt x="63699" y="584597"/>
                </a:cubicBezTo>
                <a:lnTo>
                  <a:pt x="20836" y="532805"/>
                </a:lnTo>
                <a:cubicBezTo>
                  <a:pt x="33536" y="518914"/>
                  <a:pt x="39886" y="502245"/>
                  <a:pt x="39886" y="482798"/>
                </a:cubicBezTo>
                <a:lnTo>
                  <a:pt x="39886" y="258961"/>
                </a:lnTo>
                <a:lnTo>
                  <a:pt x="0" y="258961"/>
                </a:lnTo>
                <a:lnTo>
                  <a:pt x="0" y="181570"/>
                </a:lnTo>
                <a:lnTo>
                  <a:pt x="111919" y="181570"/>
                </a:lnTo>
                <a:lnTo>
                  <a:pt x="111919" y="451842"/>
                </a:lnTo>
                <a:cubicBezTo>
                  <a:pt x="117872" y="447477"/>
                  <a:pt x="134144" y="436959"/>
                  <a:pt x="160735" y="420291"/>
                </a:cubicBezTo>
                <a:cubicBezTo>
                  <a:pt x="161925" y="436563"/>
                  <a:pt x="163314" y="451842"/>
                  <a:pt x="164902" y="466130"/>
                </a:cubicBezTo>
                <a:cubicBezTo>
                  <a:pt x="197247" y="446881"/>
                  <a:pt x="228104" y="424259"/>
                  <a:pt x="257473" y="398264"/>
                </a:cubicBezTo>
                <a:lnTo>
                  <a:pt x="133945" y="398264"/>
                </a:lnTo>
                <a:lnTo>
                  <a:pt x="133945" y="336352"/>
                </a:lnTo>
                <a:lnTo>
                  <a:pt x="160735" y="336352"/>
                </a:lnTo>
                <a:lnTo>
                  <a:pt x="160735" y="64889"/>
                </a:lnTo>
                <a:lnTo>
                  <a:pt x="216396" y="64889"/>
                </a:lnTo>
                <a:cubicBezTo>
                  <a:pt x="222746" y="44847"/>
                  <a:pt x="228600" y="23217"/>
                  <a:pt x="233958" y="0"/>
                </a:cubicBezTo>
                <a:close/>
              </a:path>
            </a:pathLst>
          </a:custGeom>
          <a:solidFill>
            <a:schemeClr val="tx1"/>
          </a:solidFill>
          <a:ln>
            <a:solidFill>
              <a:schemeClr val="accent1"/>
            </a:solidFill>
          </a:ln>
          <a:effectLst/>
        </p:spPr>
        <p:txBody>
          <a:bodyPr/>
          <a:lstStyle/>
          <a:p>
            <a:endParaRPr lang="zh-CN" altLang="en-US" sz="3600" b="1">
              <a:solidFill>
                <a:srgbClr val="FFFFFF"/>
              </a:solidFill>
              <a:latin typeface="+mn-ea"/>
            </a:endParaRPr>
          </a:p>
        </p:txBody>
      </p:sp>
      <p:sp>
        <p:nvSpPr>
          <p:cNvPr id="2056" name="文本框 9"/>
          <p:cNvSpPr/>
          <p:nvPr>
            <p:custDataLst>
              <p:tags r:id="rId3"/>
            </p:custDataLst>
          </p:nvPr>
        </p:nvSpPr>
        <p:spPr bwMode="auto">
          <a:xfrm>
            <a:off x="5038140" y="2938320"/>
            <a:ext cx="452438" cy="425054"/>
          </a:xfrm>
          <a:custGeom>
            <a:avLst/>
            <a:gdLst>
              <a:gd name="T0" fmla="*/ 365522 w 603647"/>
              <a:gd name="T1" fmla="*/ 114300 h 567333"/>
              <a:gd name="T2" fmla="*/ 445889 w 603647"/>
              <a:gd name="T3" fmla="*/ 114300 h 567333"/>
              <a:gd name="T4" fmla="*/ 429518 w 603647"/>
              <a:gd name="T5" fmla="*/ 324445 h 567333"/>
              <a:gd name="T6" fmla="*/ 470297 w 603647"/>
              <a:gd name="T7" fmla="*/ 324445 h 567333"/>
              <a:gd name="T8" fmla="*/ 470297 w 603647"/>
              <a:gd name="T9" fmla="*/ 456009 h 567333"/>
              <a:gd name="T10" fmla="*/ 495300 w 603647"/>
              <a:gd name="T11" fmla="*/ 482798 h 567333"/>
              <a:gd name="T12" fmla="*/ 517624 w 603647"/>
              <a:gd name="T13" fmla="*/ 470594 h 567333"/>
              <a:gd name="T14" fmla="*/ 528638 w 603647"/>
              <a:gd name="T15" fmla="*/ 388143 h 567333"/>
              <a:gd name="T16" fmla="*/ 603647 w 603647"/>
              <a:gd name="T17" fmla="*/ 419695 h 567333"/>
              <a:gd name="T18" fmla="*/ 565547 w 603647"/>
              <a:gd name="T19" fmla="*/ 536823 h 567333"/>
              <a:gd name="T20" fmla="*/ 514350 w 603647"/>
              <a:gd name="T21" fmla="*/ 552450 h 567333"/>
              <a:gd name="T22" fmla="*/ 470297 w 603647"/>
              <a:gd name="T23" fmla="*/ 552450 h 567333"/>
              <a:gd name="T24" fmla="*/ 397074 w 603647"/>
              <a:gd name="T25" fmla="*/ 480417 h 567333"/>
              <a:gd name="T26" fmla="*/ 397074 w 603647"/>
              <a:gd name="T27" fmla="*/ 419397 h 567333"/>
              <a:gd name="T28" fmla="*/ 241697 w 603647"/>
              <a:gd name="T29" fmla="*/ 567333 h 567333"/>
              <a:gd name="T30" fmla="*/ 185738 w 603647"/>
              <a:gd name="T31" fmla="*/ 495300 h 567333"/>
              <a:gd name="T32" fmla="*/ 335161 w 603647"/>
              <a:gd name="T33" fmla="*/ 365522 h 567333"/>
              <a:gd name="T34" fmla="*/ 365522 w 603647"/>
              <a:gd name="T35" fmla="*/ 114300 h 567333"/>
              <a:gd name="T36" fmla="*/ 13692 w 603647"/>
              <a:gd name="T37" fmla="*/ 26789 h 567333"/>
              <a:gd name="T38" fmla="*/ 225624 w 603647"/>
              <a:gd name="T39" fmla="*/ 26789 h 567333"/>
              <a:gd name="T40" fmla="*/ 171450 w 603647"/>
              <a:gd name="T41" fmla="*/ 307776 h 567333"/>
              <a:gd name="T42" fmla="*/ 238720 w 603647"/>
              <a:gd name="T43" fmla="*/ 434578 h 567333"/>
              <a:gd name="T44" fmla="*/ 172641 w 603647"/>
              <a:gd name="T45" fmla="*/ 478631 h 567333"/>
              <a:gd name="T46" fmla="*/ 131862 w 603647"/>
              <a:gd name="T47" fmla="*/ 393501 h 567333"/>
              <a:gd name="T48" fmla="*/ 44053 w 603647"/>
              <a:gd name="T49" fmla="*/ 519708 h 567333"/>
              <a:gd name="T50" fmla="*/ 0 w 603647"/>
              <a:gd name="T51" fmla="*/ 442317 h 567333"/>
              <a:gd name="T52" fmla="*/ 90488 w 603647"/>
              <a:gd name="T53" fmla="*/ 311050 h 567333"/>
              <a:gd name="T54" fmla="*/ 11311 w 603647"/>
              <a:gd name="T55" fmla="*/ 161925 h 567333"/>
              <a:gd name="T56" fmla="*/ 73819 w 603647"/>
              <a:gd name="T57" fmla="*/ 132159 h 567333"/>
              <a:gd name="T58" fmla="*/ 125313 w 603647"/>
              <a:gd name="T59" fmla="*/ 224135 h 567333"/>
              <a:gd name="T60" fmla="*/ 147638 w 603647"/>
              <a:gd name="T61" fmla="*/ 101798 h 567333"/>
              <a:gd name="T62" fmla="*/ 13692 w 603647"/>
              <a:gd name="T63" fmla="*/ 101798 h 567333"/>
              <a:gd name="T64" fmla="*/ 13692 w 603647"/>
              <a:gd name="T65" fmla="*/ 26789 h 567333"/>
              <a:gd name="T66" fmla="*/ 244674 w 603647"/>
              <a:gd name="T67" fmla="*/ 0 h 567333"/>
              <a:gd name="T68" fmla="*/ 565547 w 603647"/>
              <a:gd name="T69" fmla="*/ 0 h 567333"/>
              <a:gd name="T70" fmla="*/ 565547 w 603647"/>
              <a:gd name="T71" fmla="*/ 363140 h 567333"/>
              <a:gd name="T72" fmla="*/ 485775 w 603647"/>
              <a:gd name="T73" fmla="*/ 363140 h 567333"/>
              <a:gd name="T74" fmla="*/ 485775 w 603647"/>
              <a:gd name="T75" fmla="*/ 77390 h 567333"/>
              <a:gd name="T76" fmla="*/ 324445 w 603647"/>
              <a:gd name="T77" fmla="*/ 77390 h 567333"/>
              <a:gd name="T78" fmla="*/ 324445 w 603647"/>
              <a:gd name="T79" fmla="*/ 366712 h 567333"/>
              <a:gd name="T80" fmla="*/ 244674 w 603647"/>
              <a:gd name="T81" fmla="*/ 366712 h 567333"/>
              <a:gd name="T82" fmla="*/ 244674 w 603647"/>
              <a:gd name="T83" fmla="*/ 0 h 567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03647" h="567333">
                <a:moveTo>
                  <a:pt x="365522" y="114300"/>
                </a:moveTo>
                <a:lnTo>
                  <a:pt x="445889" y="114300"/>
                </a:lnTo>
                <a:cubicBezTo>
                  <a:pt x="446683" y="198636"/>
                  <a:pt x="441226" y="268684"/>
                  <a:pt x="429518" y="324445"/>
                </a:cubicBezTo>
                <a:lnTo>
                  <a:pt x="470297" y="324445"/>
                </a:lnTo>
                <a:lnTo>
                  <a:pt x="470297" y="456009"/>
                </a:lnTo>
                <a:cubicBezTo>
                  <a:pt x="470297" y="473868"/>
                  <a:pt x="478631" y="482798"/>
                  <a:pt x="495300" y="482798"/>
                </a:cubicBezTo>
                <a:cubicBezTo>
                  <a:pt x="506214" y="482798"/>
                  <a:pt x="513656" y="478730"/>
                  <a:pt x="517624" y="470594"/>
                </a:cubicBezTo>
                <a:cubicBezTo>
                  <a:pt x="521593" y="462458"/>
                  <a:pt x="525264" y="434975"/>
                  <a:pt x="528638" y="388143"/>
                </a:cubicBezTo>
                <a:cubicBezTo>
                  <a:pt x="554831" y="400447"/>
                  <a:pt x="579835" y="410964"/>
                  <a:pt x="603647" y="419695"/>
                </a:cubicBezTo>
                <a:cubicBezTo>
                  <a:pt x="594122" y="487362"/>
                  <a:pt x="581422" y="526405"/>
                  <a:pt x="565547" y="536823"/>
                </a:cubicBezTo>
                <a:cubicBezTo>
                  <a:pt x="549672" y="547241"/>
                  <a:pt x="532606" y="552450"/>
                  <a:pt x="514350" y="552450"/>
                </a:cubicBezTo>
                <a:lnTo>
                  <a:pt x="470297" y="552450"/>
                </a:lnTo>
                <a:cubicBezTo>
                  <a:pt x="421481" y="552450"/>
                  <a:pt x="397074" y="528439"/>
                  <a:pt x="397074" y="480417"/>
                </a:cubicBezTo>
                <a:lnTo>
                  <a:pt x="397074" y="419397"/>
                </a:lnTo>
                <a:cubicBezTo>
                  <a:pt x="366911" y="479325"/>
                  <a:pt x="315119" y="528637"/>
                  <a:pt x="241697" y="567333"/>
                </a:cubicBezTo>
                <a:cubicBezTo>
                  <a:pt x="226616" y="545504"/>
                  <a:pt x="207963" y="521493"/>
                  <a:pt x="185738" y="495300"/>
                </a:cubicBezTo>
                <a:cubicBezTo>
                  <a:pt x="262731" y="460970"/>
                  <a:pt x="312539" y="417711"/>
                  <a:pt x="335161" y="365522"/>
                </a:cubicBezTo>
                <a:cubicBezTo>
                  <a:pt x="357783" y="313333"/>
                  <a:pt x="367903" y="229592"/>
                  <a:pt x="365522" y="114300"/>
                </a:cubicBezTo>
                <a:close/>
                <a:moveTo>
                  <a:pt x="13692" y="26789"/>
                </a:moveTo>
                <a:lnTo>
                  <a:pt x="225624" y="26789"/>
                </a:lnTo>
                <a:cubicBezTo>
                  <a:pt x="222052" y="129381"/>
                  <a:pt x="203994" y="223043"/>
                  <a:pt x="171450" y="307776"/>
                </a:cubicBezTo>
                <a:lnTo>
                  <a:pt x="238720" y="434578"/>
                </a:lnTo>
                <a:lnTo>
                  <a:pt x="172641" y="478631"/>
                </a:lnTo>
                <a:cubicBezTo>
                  <a:pt x="159941" y="451247"/>
                  <a:pt x="146348" y="422870"/>
                  <a:pt x="131862" y="393501"/>
                </a:cubicBezTo>
                <a:cubicBezTo>
                  <a:pt x="107454" y="438547"/>
                  <a:pt x="78184" y="480615"/>
                  <a:pt x="44053" y="519708"/>
                </a:cubicBezTo>
                <a:cubicBezTo>
                  <a:pt x="31353" y="494307"/>
                  <a:pt x="16669" y="468511"/>
                  <a:pt x="0" y="442317"/>
                </a:cubicBezTo>
                <a:cubicBezTo>
                  <a:pt x="37108" y="400645"/>
                  <a:pt x="67270" y="356890"/>
                  <a:pt x="90488" y="311050"/>
                </a:cubicBezTo>
                <a:cubicBezTo>
                  <a:pt x="66080" y="263425"/>
                  <a:pt x="39688" y="213717"/>
                  <a:pt x="11311" y="161925"/>
                </a:cubicBezTo>
                <a:lnTo>
                  <a:pt x="73819" y="132159"/>
                </a:lnTo>
                <a:lnTo>
                  <a:pt x="125313" y="224135"/>
                </a:lnTo>
                <a:cubicBezTo>
                  <a:pt x="137418" y="184844"/>
                  <a:pt x="144859" y="144065"/>
                  <a:pt x="147638" y="101798"/>
                </a:cubicBezTo>
                <a:lnTo>
                  <a:pt x="13692" y="101798"/>
                </a:lnTo>
                <a:lnTo>
                  <a:pt x="13692" y="26789"/>
                </a:lnTo>
                <a:close/>
                <a:moveTo>
                  <a:pt x="244674" y="0"/>
                </a:moveTo>
                <a:lnTo>
                  <a:pt x="565547" y="0"/>
                </a:lnTo>
                <a:lnTo>
                  <a:pt x="565547" y="363140"/>
                </a:lnTo>
                <a:lnTo>
                  <a:pt x="485775" y="363140"/>
                </a:lnTo>
                <a:lnTo>
                  <a:pt x="485775" y="77390"/>
                </a:lnTo>
                <a:lnTo>
                  <a:pt x="324445" y="77390"/>
                </a:lnTo>
                <a:lnTo>
                  <a:pt x="324445" y="366712"/>
                </a:lnTo>
                <a:lnTo>
                  <a:pt x="244674" y="366712"/>
                </a:lnTo>
                <a:lnTo>
                  <a:pt x="244674" y="0"/>
                </a:lnTo>
                <a:close/>
              </a:path>
            </a:pathLst>
          </a:custGeom>
          <a:solidFill>
            <a:schemeClr val="tx1"/>
          </a:solidFill>
          <a:ln>
            <a:solidFill>
              <a:schemeClr val="accent1"/>
            </a:solidFill>
          </a:ln>
          <a:effectLst/>
        </p:spPr>
        <p:txBody>
          <a:bodyPr/>
          <a:lstStyle/>
          <a:p>
            <a:endParaRPr lang="zh-CN" altLang="en-US" sz="3600" b="1" dirty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2060" name="文本框 13"/>
          <p:cNvSpPr/>
          <p:nvPr>
            <p:custDataLst>
              <p:tags r:id="rId4"/>
            </p:custDataLst>
          </p:nvPr>
        </p:nvSpPr>
        <p:spPr bwMode="auto">
          <a:xfrm>
            <a:off x="6451147" y="2932368"/>
            <a:ext cx="441722" cy="431006"/>
          </a:xfrm>
          <a:custGeom>
            <a:avLst/>
            <a:gdLst>
              <a:gd name="T0" fmla="*/ 186928 w 589954"/>
              <a:gd name="T1" fmla="*/ 464343 h 573881"/>
              <a:gd name="T2" fmla="*/ 186928 w 589954"/>
              <a:gd name="T3" fmla="*/ 495300 h 573881"/>
              <a:gd name="T4" fmla="*/ 449460 w 589954"/>
              <a:gd name="T5" fmla="*/ 495300 h 573881"/>
              <a:gd name="T6" fmla="*/ 449460 w 589954"/>
              <a:gd name="T7" fmla="*/ 464343 h 573881"/>
              <a:gd name="T8" fmla="*/ 186928 w 589954"/>
              <a:gd name="T9" fmla="*/ 464343 h 573881"/>
              <a:gd name="T10" fmla="*/ 186928 w 589954"/>
              <a:gd name="T11" fmla="*/ 392311 h 573881"/>
              <a:gd name="T12" fmla="*/ 186928 w 589954"/>
              <a:gd name="T13" fmla="*/ 422672 h 573881"/>
              <a:gd name="T14" fmla="*/ 449460 w 589954"/>
              <a:gd name="T15" fmla="*/ 422672 h 573881"/>
              <a:gd name="T16" fmla="*/ 449460 w 589954"/>
              <a:gd name="T17" fmla="*/ 392311 h 573881"/>
              <a:gd name="T18" fmla="*/ 186928 w 589954"/>
              <a:gd name="T19" fmla="*/ 392311 h 573881"/>
              <a:gd name="T20" fmla="*/ 186928 w 589954"/>
              <a:gd name="T21" fmla="*/ 320278 h 573881"/>
              <a:gd name="T22" fmla="*/ 186928 w 589954"/>
              <a:gd name="T23" fmla="*/ 350639 h 573881"/>
              <a:gd name="T24" fmla="*/ 449460 w 589954"/>
              <a:gd name="T25" fmla="*/ 350639 h 573881"/>
              <a:gd name="T26" fmla="*/ 449460 w 589954"/>
              <a:gd name="T27" fmla="*/ 320278 h 573881"/>
              <a:gd name="T28" fmla="*/ 186928 w 589954"/>
              <a:gd name="T29" fmla="*/ 320278 h 573881"/>
              <a:gd name="T30" fmla="*/ 547092 w 589954"/>
              <a:gd name="T31" fmla="*/ 0 h 573881"/>
              <a:gd name="T32" fmla="*/ 559593 w 589954"/>
              <a:gd name="T33" fmla="*/ 63103 h 573881"/>
              <a:gd name="T34" fmla="*/ 317896 w 589954"/>
              <a:gd name="T35" fmla="*/ 71139 h 573881"/>
              <a:gd name="T36" fmla="*/ 307181 w 589954"/>
              <a:gd name="T37" fmla="*/ 101203 h 573881"/>
              <a:gd name="T38" fmla="*/ 544710 w 589954"/>
              <a:gd name="T39" fmla="*/ 101203 h 573881"/>
              <a:gd name="T40" fmla="*/ 544710 w 589954"/>
              <a:gd name="T41" fmla="*/ 152400 h 573881"/>
              <a:gd name="T42" fmla="*/ 284857 w 589954"/>
              <a:gd name="T43" fmla="*/ 152400 h 573881"/>
              <a:gd name="T44" fmla="*/ 269081 w 589954"/>
              <a:gd name="T45" fmla="*/ 182761 h 573881"/>
              <a:gd name="T46" fmla="*/ 589954 w 589954"/>
              <a:gd name="T47" fmla="*/ 182761 h 573881"/>
              <a:gd name="T48" fmla="*/ 589954 w 589954"/>
              <a:gd name="T49" fmla="*/ 236934 h 573881"/>
              <a:gd name="T50" fmla="*/ 236041 w 589954"/>
              <a:gd name="T51" fmla="*/ 236934 h 573881"/>
              <a:gd name="T52" fmla="*/ 216396 w 589954"/>
              <a:gd name="T53" fmla="*/ 264318 h 573881"/>
              <a:gd name="T54" fmla="*/ 531018 w 589954"/>
              <a:gd name="T55" fmla="*/ 264318 h 573881"/>
              <a:gd name="T56" fmla="*/ 531018 w 589954"/>
              <a:gd name="T57" fmla="*/ 573881 h 573881"/>
              <a:gd name="T58" fmla="*/ 449460 w 589954"/>
              <a:gd name="T59" fmla="*/ 573881 h 573881"/>
              <a:gd name="T60" fmla="*/ 449460 w 589954"/>
              <a:gd name="T61" fmla="*/ 551259 h 573881"/>
              <a:gd name="T62" fmla="*/ 186928 w 589954"/>
              <a:gd name="T63" fmla="*/ 551259 h 573881"/>
              <a:gd name="T64" fmla="*/ 186928 w 589954"/>
              <a:gd name="T65" fmla="*/ 573881 h 573881"/>
              <a:gd name="T66" fmla="*/ 105370 w 589954"/>
              <a:gd name="T67" fmla="*/ 573881 h 573881"/>
              <a:gd name="T68" fmla="*/ 105370 w 589954"/>
              <a:gd name="T69" fmla="*/ 385762 h 573881"/>
              <a:gd name="T70" fmla="*/ 32742 w 589954"/>
              <a:gd name="T71" fmla="*/ 445889 h 573881"/>
              <a:gd name="T72" fmla="*/ 0 w 589954"/>
              <a:gd name="T73" fmla="*/ 358973 h 573881"/>
              <a:gd name="T74" fmla="*/ 144363 w 589954"/>
              <a:gd name="T75" fmla="*/ 236934 h 573881"/>
              <a:gd name="T76" fmla="*/ 1786 w 589954"/>
              <a:gd name="T77" fmla="*/ 236934 h 573881"/>
              <a:gd name="T78" fmla="*/ 1786 w 589954"/>
              <a:gd name="T79" fmla="*/ 182761 h 573881"/>
              <a:gd name="T80" fmla="*/ 183356 w 589954"/>
              <a:gd name="T81" fmla="*/ 182761 h 573881"/>
              <a:gd name="T82" fmla="*/ 200322 w 589954"/>
              <a:gd name="T83" fmla="*/ 152400 h 573881"/>
              <a:gd name="T84" fmla="*/ 47029 w 589954"/>
              <a:gd name="T85" fmla="*/ 152400 h 573881"/>
              <a:gd name="T86" fmla="*/ 47029 w 589954"/>
              <a:gd name="T87" fmla="*/ 101203 h 573881"/>
              <a:gd name="T88" fmla="*/ 222349 w 589954"/>
              <a:gd name="T89" fmla="*/ 101203 h 573881"/>
              <a:gd name="T90" fmla="*/ 231278 w 589954"/>
              <a:gd name="T91" fmla="*/ 73521 h 573881"/>
              <a:gd name="T92" fmla="*/ 41671 w 589954"/>
              <a:gd name="T93" fmla="*/ 77986 h 573881"/>
              <a:gd name="T94" fmla="*/ 32146 w 589954"/>
              <a:gd name="T95" fmla="*/ 14287 h 573881"/>
              <a:gd name="T96" fmla="*/ 547092 w 589954"/>
              <a:gd name="T97" fmla="*/ 0 h 5738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89954" h="573881">
                <a:moveTo>
                  <a:pt x="186928" y="464343"/>
                </a:moveTo>
                <a:lnTo>
                  <a:pt x="186928" y="495300"/>
                </a:lnTo>
                <a:lnTo>
                  <a:pt x="449460" y="495300"/>
                </a:lnTo>
                <a:lnTo>
                  <a:pt x="449460" y="464343"/>
                </a:lnTo>
                <a:lnTo>
                  <a:pt x="186928" y="464343"/>
                </a:lnTo>
                <a:close/>
                <a:moveTo>
                  <a:pt x="186928" y="392311"/>
                </a:moveTo>
                <a:lnTo>
                  <a:pt x="186928" y="422672"/>
                </a:lnTo>
                <a:lnTo>
                  <a:pt x="449460" y="422672"/>
                </a:lnTo>
                <a:lnTo>
                  <a:pt x="449460" y="392311"/>
                </a:lnTo>
                <a:lnTo>
                  <a:pt x="186928" y="392311"/>
                </a:lnTo>
                <a:close/>
                <a:moveTo>
                  <a:pt x="186928" y="320278"/>
                </a:moveTo>
                <a:lnTo>
                  <a:pt x="186928" y="350639"/>
                </a:lnTo>
                <a:lnTo>
                  <a:pt x="449460" y="350639"/>
                </a:lnTo>
                <a:lnTo>
                  <a:pt x="449460" y="320278"/>
                </a:lnTo>
                <a:lnTo>
                  <a:pt x="186928" y="320278"/>
                </a:lnTo>
                <a:close/>
                <a:moveTo>
                  <a:pt x="547092" y="0"/>
                </a:moveTo>
                <a:lnTo>
                  <a:pt x="559593" y="63103"/>
                </a:lnTo>
                <a:lnTo>
                  <a:pt x="317896" y="71139"/>
                </a:lnTo>
                <a:cubicBezTo>
                  <a:pt x="314523" y="81260"/>
                  <a:pt x="310951" y="91281"/>
                  <a:pt x="307181" y="101203"/>
                </a:cubicBezTo>
                <a:lnTo>
                  <a:pt x="544710" y="101203"/>
                </a:lnTo>
                <a:lnTo>
                  <a:pt x="544710" y="152400"/>
                </a:lnTo>
                <a:lnTo>
                  <a:pt x="284857" y="152400"/>
                </a:lnTo>
                <a:cubicBezTo>
                  <a:pt x="279896" y="162718"/>
                  <a:pt x="274637" y="172839"/>
                  <a:pt x="269081" y="182761"/>
                </a:cubicBezTo>
                <a:lnTo>
                  <a:pt x="589954" y="182761"/>
                </a:lnTo>
                <a:lnTo>
                  <a:pt x="589954" y="236934"/>
                </a:lnTo>
                <a:lnTo>
                  <a:pt x="236041" y="236934"/>
                </a:lnTo>
                <a:cubicBezTo>
                  <a:pt x="229691" y="246261"/>
                  <a:pt x="223143" y="255389"/>
                  <a:pt x="216396" y="264318"/>
                </a:cubicBezTo>
                <a:lnTo>
                  <a:pt x="531018" y="264318"/>
                </a:lnTo>
                <a:lnTo>
                  <a:pt x="531018" y="573881"/>
                </a:lnTo>
                <a:lnTo>
                  <a:pt x="449460" y="573881"/>
                </a:lnTo>
                <a:lnTo>
                  <a:pt x="449460" y="551259"/>
                </a:lnTo>
                <a:lnTo>
                  <a:pt x="186928" y="551259"/>
                </a:lnTo>
                <a:lnTo>
                  <a:pt x="186928" y="573881"/>
                </a:lnTo>
                <a:lnTo>
                  <a:pt x="105370" y="573881"/>
                </a:lnTo>
                <a:lnTo>
                  <a:pt x="105370" y="385762"/>
                </a:lnTo>
                <a:cubicBezTo>
                  <a:pt x="82748" y="406400"/>
                  <a:pt x="58539" y="426442"/>
                  <a:pt x="32742" y="445889"/>
                </a:cubicBezTo>
                <a:cubicBezTo>
                  <a:pt x="23217" y="415329"/>
                  <a:pt x="12303" y="386357"/>
                  <a:pt x="0" y="358973"/>
                </a:cubicBezTo>
                <a:cubicBezTo>
                  <a:pt x="58340" y="323254"/>
                  <a:pt x="106461" y="282575"/>
                  <a:pt x="144363" y="236934"/>
                </a:cubicBezTo>
                <a:lnTo>
                  <a:pt x="1786" y="236934"/>
                </a:lnTo>
                <a:lnTo>
                  <a:pt x="1786" y="182761"/>
                </a:lnTo>
                <a:lnTo>
                  <a:pt x="183356" y="182761"/>
                </a:lnTo>
                <a:cubicBezTo>
                  <a:pt x="189309" y="172839"/>
                  <a:pt x="194964" y="162718"/>
                  <a:pt x="200322" y="152400"/>
                </a:cubicBezTo>
                <a:lnTo>
                  <a:pt x="47029" y="152400"/>
                </a:lnTo>
                <a:lnTo>
                  <a:pt x="47029" y="101203"/>
                </a:lnTo>
                <a:lnTo>
                  <a:pt x="222349" y="101203"/>
                </a:lnTo>
                <a:cubicBezTo>
                  <a:pt x="225722" y="92075"/>
                  <a:pt x="228699" y="82847"/>
                  <a:pt x="231278" y="73521"/>
                </a:cubicBezTo>
                <a:lnTo>
                  <a:pt x="41671" y="77986"/>
                </a:lnTo>
                <a:cubicBezTo>
                  <a:pt x="39290" y="55364"/>
                  <a:pt x="36115" y="34131"/>
                  <a:pt x="32146" y="14287"/>
                </a:cubicBezTo>
                <a:cubicBezTo>
                  <a:pt x="230584" y="13097"/>
                  <a:pt x="402232" y="8334"/>
                  <a:pt x="547092" y="0"/>
                </a:cubicBezTo>
                <a:close/>
              </a:path>
            </a:pathLst>
          </a:custGeom>
          <a:solidFill>
            <a:schemeClr val="tx1"/>
          </a:solidFill>
          <a:ln>
            <a:solidFill>
              <a:schemeClr val="accent1"/>
            </a:solidFill>
          </a:ln>
          <a:effectLst/>
        </p:spPr>
        <p:txBody>
          <a:bodyPr/>
          <a:lstStyle/>
          <a:p>
            <a:endParaRPr lang="zh-CN" altLang="en-US" sz="3600" b="1">
              <a:solidFill>
                <a:srgbClr val="FFFFFF"/>
              </a:solidFill>
              <a:latin typeface="+mn-ea"/>
            </a:endParaRPr>
          </a:p>
        </p:txBody>
      </p:sp>
      <p:sp>
        <p:nvSpPr>
          <p:cNvPr id="35" name="文本框 34"/>
          <p:cNvSpPr txBox="1"/>
          <p:nvPr>
            <p:custDataLst>
              <p:tags r:id="rId5"/>
            </p:custDataLst>
          </p:nvPr>
        </p:nvSpPr>
        <p:spPr>
          <a:xfrm>
            <a:off x="2231174" y="2922843"/>
            <a:ext cx="442913" cy="440531"/>
          </a:xfrm>
          <a:custGeom>
            <a:avLst/>
            <a:gdLst/>
            <a:ahLst/>
            <a:cxnLst/>
            <a:rect l="l" t="t" r="r" b="b"/>
            <a:pathLst>
              <a:path w="591741" h="586680">
                <a:moveTo>
                  <a:pt x="232172" y="300633"/>
                </a:moveTo>
                <a:lnTo>
                  <a:pt x="232172" y="336352"/>
                </a:lnTo>
                <a:lnTo>
                  <a:pt x="298847" y="336352"/>
                </a:lnTo>
                <a:lnTo>
                  <a:pt x="298847" y="300633"/>
                </a:lnTo>
                <a:close/>
                <a:moveTo>
                  <a:pt x="232172" y="213717"/>
                </a:moveTo>
                <a:lnTo>
                  <a:pt x="232172" y="249436"/>
                </a:lnTo>
                <a:lnTo>
                  <a:pt x="298847" y="249436"/>
                </a:lnTo>
                <a:lnTo>
                  <a:pt x="298847" y="213717"/>
                </a:lnTo>
                <a:close/>
                <a:moveTo>
                  <a:pt x="232172" y="126802"/>
                </a:moveTo>
                <a:lnTo>
                  <a:pt x="232172" y="162520"/>
                </a:lnTo>
                <a:lnTo>
                  <a:pt x="298847" y="162520"/>
                </a:lnTo>
                <a:lnTo>
                  <a:pt x="298847" y="126802"/>
                </a:lnTo>
                <a:close/>
                <a:moveTo>
                  <a:pt x="75010" y="10716"/>
                </a:moveTo>
                <a:cubicBezTo>
                  <a:pt x="101600" y="46037"/>
                  <a:pt x="125214" y="80169"/>
                  <a:pt x="145852" y="113109"/>
                </a:cubicBezTo>
                <a:cubicBezTo>
                  <a:pt x="124024" y="126206"/>
                  <a:pt x="101402" y="140097"/>
                  <a:pt x="77986" y="154781"/>
                </a:cubicBezTo>
                <a:cubicBezTo>
                  <a:pt x="57349" y="116284"/>
                  <a:pt x="35520" y="80764"/>
                  <a:pt x="12502" y="48220"/>
                </a:cubicBezTo>
                <a:close/>
                <a:moveTo>
                  <a:pt x="478036" y="10120"/>
                </a:moveTo>
                <a:lnTo>
                  <a:pt x="551260" y="10120"/>
                </a:lnTo>
                <a:lnTo>
                  <a:pt x="551260" y="116681"/>
                </a:lnTo>
                <a:lnTo>
                  <a:pt x="591741" y="116681"/>
                </a:lnTo>
                <a:lnTo>
                  <a:pt x="591741" y="193477"/>
                </a:lnTo>
                <a:lnTo>
                  <a:pt x="551260" y="193477"/>
                </a:lnTo>
                <a:lnTo>
                  <a:pt x="551260" y="490538"/>
                </a:lnTo>
                <a:cubicBezTo>
                  <a:pt x="551260" y="520105"/>
                  <a:pt x="545604" y="542578"/>
                  <a:pt x="534293" y="557957"/>
                </a:cubicBezTo>
                <a:cubicBezTo>
                  <a:pt x="522982" y="573336"/>
                  <a:pt x="507008" y="581670"/>
                  <a:pt x="486370" y="582960"/>
                </a:cubicBezTo>
                <a:cubicBezTo>
                  <a:pt x="465733" y="584250"/>
                  <a:pt x="439539" y="584994"/>
                  <a:pt x="407789" y="585192"/>
                </a:cubicBezTo>
                <a:cubicBezTo>
                  <a:pt x="404614" y="558602"/>
                  <a:pt x="399653" y="533003"/>
                  <a:pt x="392906" y="508397"/>
                </a:cubicBezTo>
                <a:cubicBezTo>
                  <a:pt x="410766" y="509588"/>
                  <a:pt x="429022" y="510183"/>
                  <a:pt x="447675" y="510183"/>
                </a:cubicBezTo>
                <a:cubicBezTo>
                  <a:pt x="467916" y="510183"/>
                  <a:pt x="478036" y="499269"/>
                  <a:pt x="478036" y="477441"/>
                </a:cubicBezTo>
                <a:lnTo>
                  <a:pt x="478036" y="193477"/>
                </a:lnTo>
                <a:lnTo>
                  <a:pt x="383977" y="193477"/>
                </a:lnTo>
                <a:lnTo>
                  <a:pt x="383977" y="116681"/>
                </a:lnTo>
                <a:lnTo>
                  <a:pt x="478036" y="116681"/>
                </a:lnTo>
                <a:close/>
                <a:moveTo>
                  <a:pt x="233958" y="0"/>
                </a:moveTo>
                <a:lnTo>
                  <a:pt x="320874" y="8930"/>
                </a:lnTo>
                <a:cubicBezTo>
                  <a:pt x="312539" y="27384"/>
                  <a:pt x="303808" y="46037"/>
                  <a:pt x="294680" y="64889"/>
                </a:cubicBezTo>
                <a:lnTo>
                  <a:pt x="370285" y="64889"/>
                </a:lnTo>
                <a:lnTo>
                  <a:pt x="370285" y="255091"/>
                </a:lnTo>
                <a:lnTo>
                  <a:pt x="426839" y="234553"/>
                </a:lnTo>
                <a:cubicBezTo>
                  <a:pt x="448667" y="288925"/>
                  <a:pt x="464939" y="336153"/>
                  <a:pt x="475655" y="376237"/>
                </a:cubicBezTo>
                <a:lnTo>
                  <a:pt x="410170" y="398859"/>
                </a:lnTo>
                <a:cubicBezTo>
                  <a:pt x="398463" y="357386"/>
                  <a:pt x="385167" y="314127"/>
                  <a:pt x="370285" y="269081"/>
                </a:cubicBezTo>
                <a:lnTo>
                  <a:pt x="370285" y="504825"/>
                </a:lnTo>
                <a:cubicBezTo>
                  <a:pt x="370285" y="531614"/>
                  <a:pt x="364976" y="551755"/>
                  <a:pt x="354360" y="565249"/>
                </a:cubicBezTo>
                <a:cubicBezTo>
                  <a:pt x="343743" y="578743"/>
                  <a:pt x="328811" y="585688"/>
                  <a:pt x="309563" y="586085"/>
                </a:cubicBezTo>
                <a:cubicBezTo>
                  <a:pt x="290314" y="586482"/>
                  <a:pt x="266105" y="586680"/>
                  <a:pt x="236935" y="586680"/>
                </a:cubicBezTo>
                <a:cubicBezTo>
                  <a:pt x="233363" y="563066"/>
                  <a:pt x="228799" y="539353"/>
                  <a:pt x="223242" y="515541"/>
                </a:cubicBezTo>
                <a:cubicBezTo>
                  <a:pt x="245070" y="518319"/>
                  <a:pt x="262136" y="519708"/>
                  <a:pt x="274439" y="519708"/>
                </a:cubicBezTo>
                <a:cubicBezTo>
                  <a:pt x="290711" y="519708"/>
                  <a:pt x="298847" y="510778"/>
                  <a:pt x="298847" y="492919"/>
                </a:cubicBezTo>
                <a:lnTo>
                  <a:pt x="298847" y="439936"/>
                </a:lnTo>
                <a:cubicBezTo>
                  <a:pt x="257969" y="484188"/>
                  <a:pt x="214511" y="520303"/>
                  <a:pt x="168474" y="548283"/>
                </a:cubicBezTo>
                <a:cubicBezTo>
                  <a:pt x="162322" y="539155"/>
                  <a:pt x="155178" y="529729"/>
                  <a:pt x="147042" y="520005"/>
                </a:cubicBezTo>
                <a:cubicBezTo>
                  <a:pt x="113308" y="543421"/>
                  <a:pt x="85527" y="564952"/>
                  <a:pt x="63699" y="584597"/>
                </a:cubicBezTo>
                <a:lnTo>
                  <a:pt x="20836" y="532805"/>
                </a:lnTo>
                <a:cubicBezTo>
                  <a:pt x="33536" y="518914"/>
                  <a:pt x="39886" y="502245"/>
                  <a:pt x="39886" y="482798"/>
                </a:cubicBezTo>
                <a:lnTo>
                  <a:pt x="39886" y="258961"/>
                </a:lnTo>
                <a:lnTo>
                  <a:pt x="0" y="258961"/>
                </a:lnTo>
                <a:lnTo>
                  <a:pt x="0" y="181570"/>
                </a:lnTo>
                <a:lnTo>
                  <a:pt x="111919" y="181570"/>
                </a:lnTo>
                <a:lnTo>
                  <a:pt x="111919" y="451842"/>
                </a:lnTo>
                <a:cubicBezTo>
                  <a:pt x="117872" y="447477"/>
                  <a:pt x="134144" y="436959"/>
                  <a:pt x="160735" y="420291"/>
                </a:cubicBezTo>
                <a:cubicBezTo>
                  <a:pt x="161925" y="436563"/>
                  <a:pt x="163314" y="451842"/>
                  <a:pt x="164902" y="466130"/>
                </a:cubicBezTo>
                <a:cubicBezTo>
                  <a:pt x="197247" y="446881"/>
                  <a:pt x="228104" y="424259"/>
                  <a:pt x="257473" y="398264"/>
                </a:cubicBezTo>
                <a:lnTo>
                  <a:pt x="133945" y="398264"/>
                </a:lnTo>
                <a:lnTo>
                  <a:pt x="133945" y="336352"/>
                </a:lnTo>
                <a:lnTo>
                  <a:pt x="160735" y="336352"/>
                </a:lnTo>
                <a:lnTo>
                  <a:pt x="160735" y="64889"/>
                </a:lnTo>
                <a:lnTo>
                  <a:pt x="216396" y="64889"/>
                </a:lnTo>
                <a:cubicBezTo>
                  <a:pt x="222746" y="44847"/>
                  <a:pt x="228600" y="23217"/>
                  <a:pt x="233958" y="0"/>
                </a:cubicBezTo>
                <a:close/>
              </a:path>
            </a:pathLst>
          </a:custGeom>
          <a:solidFill>
            <a:schemeClr val="tx1"/>
          </a:solidFill>
          <a:ln>
            <a:solidFill>
              <a:schemeClr val="accent1"/>
            </a:solidFill>
          </a:ln>
          <a:effectLst/>
        </p:spPr>
        <p:txBody>
          <a:bodyPr/>
          <a:lstStyle/>
          <a:p>
            <a:pPr>
              <a:defRPr/>
            </a:pPr>
            <a:endParaRPr lang="zh-CN" altLang="en-US" sz="3600" b="1" dirty="0">
              <a:solidFill>
                <a:srgbClr val="FFFFFF"/>
              </a:solidFill>
              <a:latin typeface="+mn-ea"/>
            </a:endParaRPr>
          </a:p>
        </p:txBody>
      </p:sp>
      <p:sp>
        <p:nvSpPr>
          <p:cNvPr id="4" name="文本占位符 3"/>
          <p:cNvSpPr>
            <a:spLocks noGrp="1"/>
          </p:cNvSpPr>
          <p:nvPr>
            <p:ph sz="quarter" idx="13"/>
            <p:custDataLst>
              <p:tags r:id="rId6"/>
            </p:custDataLst>
          </p:nvPr>
        </p:nvSpPr>
        <p:spPr/>
        <p:txBody>
          <a:bodyPr>
            <a:noAutofit/>
          </a:bodyPr>
          <a:lstStyle/>
          <a:p>
            <a:r>
              <a:rPr lang="en-US" altLang="zh-CN" sz="3600" spc="113" dirty="0" smtClean="0">
                <a:solidFill>
                  <a:srgbClr val="92D050"/>
                </a:solidFill>
              </a:rPr>
              <a:t>THANK YOU!</a:t>
            </a:r>
          </a:p>
        </p:txBody>
      </p:sp>
    </p:spTree>
    <p:custDataLst>
      <p:tags r:id="rId1"/>
    </p:custDataLst>
  </p:cSld>
  <p:clrMapOvr>
    <a:masterClrMapping/>
  </p:clrMapOvr>
  <p:transition>
    <p:circl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 dirty="0" smtClean="0"/>
              <a:t>第一天</a:t>
            </a:r>
            <a:endParaRPr lang="zh-CN" altLang="en-US" dirty="0"/>
          </a:p>
        </p:txBody>
      </p:sp>
      <p:sp>
        <p:nvSpPr>
          <p:cNvPr id="5" name="内容占位符 4"/>
          <p:cNvSpPr>
            <a:spLocks noGrp="1"/>
          </p:cNvSpPr>
          <p:nvPr>
            <p:ph idx="1"/>
          </p:nvPr>
        </p:nvSpPr>
        <p:spPr>
          <a:xfrm>
            <a:off x="457200" y="1248546"/>
            <a:ext cx="8229600" cy="4525963"/>
          </a:xfrm>
        </p:spPr>
        <p:txBody>
          <a:bodyPr>
            <a:normAutofit fontScale="62500" lnSpcReduction="20000"/>
          </a:bodyPr>
          <a:lstStyle/>
          <a:p>
            <a:r>
              <a:rPr lang="zh-CN" altLang="en-US" sz="3600" dirty="0" smtClean="0">
                <a:solidFill>
                  <a:srgbClr val="FF0000"/>
                </a:solidFill>
              </a:rPr>
              <a:t>從學校出發，坐車到達深圳灣口岸。</a:t>
            </a:r>
            <a:endParaRPr lang="en-US" altLang="zh-CN" sz="3600" dirty="0" smtClean="0">
              <a:solidFill>
                <a:srgbClr val="FF0000"/>
              </a:solidFill>
            </a:endParaRPr>
          </a:p>
          <a:p>
            <a:r>
              <a:rPr lang="zh-CN" altLang="en-US" sz="3600" dirty="0">
                <a:solidFill>
                  <a:srgbClr val="FF0000"/>
                </a:solidFill>
              </a:rPr>
              <a:t>過</a:t>
            </a:r>
            <a:r>
              <a:rPr lang="zh-CN" altLang="en-US" sz="3600" dirty="0" smtClean="0">
                <a:solidFill>
                  <a:srgbClr val="FF0000"/>
                </a:solidFill>
              </a:rPr>
              <a:t>完關，坐車去廣州。到達廣州，吃午飯。</a:t>
            </a:r>
            <a:endParaRPr lang="en-US" altLang="zh-CN" sz="3600" dirty="0" smtClean="0">
              <a:solidFill>
                <a:srgbClr val="FF0000"/>
              </a:solidFill>
            </a:endParaRPr>
          </a:p>
          <a:p>
            <a:r>
              <a:rPr lang="zh-CN" altLang="en-US" sz="3600" b="1" dirty="0" smtClean="0">
                <a:solidFill>
                  <a:srgbClr val="FF0000"/>
                </a:solidFill>
                <a:latin typeface="+mn-ea"/>
              </a:rPr>
              <a:t>參觀紅磚廠創意文化園區</a:t>
            </a:r>
            <a:r>
              <a:rPr lang="zh-CN" altLang="en-US" sz="3600" dirty="0" smtClean="0">
                <a:solidFill>
                  <a:srgbClr val="FF0000"/>
                </a:solidFill>
                <a:latin typeface="+mn-ea"/>
              </a:rPr>
              <a:t>：</a:t>
            </a:r>
            <a:r>
              <a:rPr lang="zh-CN" altLang="en-US" sz="3600" dirty="0">
                <a:solidFill>
                  <a:srgbClr val="FF0000"/>
                </a:solidFill>
                <a:latin typeface="+mn-ea"/>
              </a:rPr>
              <a:t>紅專廠藝術生活區的業態種類包括藝術文化交流</a:t>
            </a:r>
            <a:r>
              <a:rPr lang="zh-CN" altLang="en-US" sz="3600" dirty="0" smtClean="0">
                <a:solidFill>
                  <a:srgbClr val="FF0000"/>
                </a:solidFill>
                <a:latin typeface="+mn-ea"/>
              </a:rPr>
              <a:t>機構。</a:t>
            </a:r>
            <a:endParaRPr lang="zh-CN" altLang="en-US" sz="3600" dirty="0">
              <a:solidFill>
                <a:srgbClr val="FF0000"/>
              </a:solidFill>
              <a:latin typeface="+mn-ea"/>
            </a:endParaRPr>
          </a:p>
          <a:p>
            <a:pPr>
              <a:lnSpc>
                <a:spcPct val="120000"/>
              </a:lnSpc>
            </a:pPr>
            <a:r>
              <a:rPr lang="zh-CN" altLang="en-US" sz="3600" dirty="0" smtClean="0">
                <a:solidFill>
                  <a:srgbClr val="FF0000"/>
                </a:solidFill>
                <a:latin typeface="+mn-ea"/>
              </a:rPr>
              <a:t>藝術家工作室、雕塑展廳及廣場展示區、酒吧／咖啡廳、進口書店、藝術文化商店、攝影棚、養生會所等數十個種類，是一個以國際標準定義的</a:t>
            </a:r>
            <a:r>
              <a:rPr lang="zh-CN" altLang="en-US" sz="3600" dirty="0">
                <a:solidFill>
                  <a:srgbClr val="FF0000"/>
                </a:solidFill>
                <a:latin typeface="+mn-ea"/>
              </a:rPr>
              <a:t>藝術、生活中心</a:t>
            </a:r>
            <a:r>
              <a:rPr lang="zh-CN" altLang="en-US" sz="3600" dirty="0" smtClean="0">
                <a:solidFill>
                  <a:srgbClr val="FF0000"/>
                </a:solidFill>
                <a:latin typeface="+mn-ea"/>
              </a:rPr>
              <a:t>。                                                                                                                                                                                                              </a:t>
            </a:r>
            <a:r>
              <a:rPr lang="zh-CN" altLang="en-US" sz="3600" dirty="0">
                <a:solidFill>
                  <a:srgbClr val="FF0000"/>
                </a:solidFill>
                <a:latin typeface="+mn-ea"/>
              </a:rPr>
              <a:t>現在</a:t>
            </a:r>
            <a:r>
              <a:rPr lang="zh-CN" altLang="en-US" sz="3600" dirty="0" smtClean="0">
                <a:solidFill>
                  <a:srgbClr val="FF0000"/>
                </a:solidFill>
                <a:latin typeface="+mn-ea"/>
              </a:rPr>
              <a:t>，紅專廠正以現代的視野，國際的平臺，探索、打造富有時尚、創意、藝術和人文精神的新領域</a:t>
            </a:r>
          </a:p>
          <a:p>
            <a:endParaRPr lang="zh-CN" altLang="en-US" sz="2400" dirty="0" smtClean="0">
              <a:solidFill>
                <a:srgbClr val="FF0000"/>
              </a:solidFill>
            </a:endParaRPr>
          </a:p>
          <a:p>
            <a:endParaRPr lang="zh-CN" altLang="en-US" dirty="0" smtClean="0"/>
          </a:p>
          <a:p>
            <a:endParaRPr lang="zh-CN" altLang="en-US" dirty="0" smtClean="0"/>
          </a:p>
          <a:p>
            <a:r>
              <a:rPr lang="en-US" altLang="zh-CN" dirty="0" smtClean="0"/>
              <a:t> </a:t>
            </a:r>
            <a:endParaRPr lang="zh-CN" altLang="en-US" dirty="0"/>
          </a:p>
          <a:p>
            <a:endParaRPr lang="zh-CN" altLang="en-US" dirty="0"/>
          </a:p>
        </p:txBody>
      </p:sp>
      <p:pic>
        <p:nvPicPr>
          <p:cNvPr id="6" name="图片 5" descr="QQ图片20160626090240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932040" y="4653136"/>
            <a:ext cx="1854126" cy="2016224"/>
          </a:xfrm>
          <a:prstGeom prst="rect">
            <a:avLst/>
          </a:prstGeom>
        </p:spPr>
      </p:pic>
      <p:pic>
        <p:nvPicPr>
          <p:cNvPr id="7" name="图片 6" descr="QQ图片20160626090259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645867" y="4653136"/>
            <a:ext cx="1926133" cy="2204864"/>
          </a:xfrm>
          <a:prstGeom prst="rect">
            <a:avLst/>
          </a:prstGeom>
        </p:spPr>
      </p:pic>
    </p:spTree>
  </p:cSld>
  <p:clrMapOvr>
    <a:masterClrMapping/>
  </p:clrMapOvr>
  <p:transition>
    <p:wheel spokes="2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第一天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23528" y="1282268"/>
            <a:ext cx="8229600" cy="4525963"/>
          </a:xfrm>
        </p:spPr>
        <p:txBody>
          <a:bodyPr>
            <a:normAutofit/>
          </a:bodyPr>
          <a:lstStyle/>
          <a:p>
            <a:r>
              <a:rPr lang="zh-CN" altLang="en-US" sz="2400" b="1" dirty="0" smtClean="0">
                <a:solidFill>
                  <a:srgbClr val="FF0000"/>
                </a:solidFill>
              </a:rPr>
              <a:t>花城廣場：</a:t>
            </a:r>
            <a:r>
              <a:rPr lang="zh-CN" altLang="en-US" sz="2400" dirty="0"/>
              <a:t>成為國際級水準的金融、貿易、商業、文娛、外事、行政區</a:t>
            </a:r>
            <a:r>
              <a:rPr lang="zh-CN" altLang="en-US" sz="2400" dirty="0" smtClean="0"/>
              <a:t>。</a:t>
            </a:r>
            <a:r>
              <a:rPr lang="zh-CN" altLang="en-US" sz="2400" dirty="0"/>
              <a:t>作為</a:t>
            </a:r>
            <a:r>
              <a:rPr lang="zh-CN" altLang="en-US" sz="2400" dirty="0">
                <a:solidFill>
                  <a:srgbClr val="FF0000"/>
                </a:solidFill>
                <a:hlinkClick r:id="rId2"/>
              </a:rPr>
              <a:t>廣州</a:t>
            </a:r>
            <a:r>
              <a:rPr lang="en-US" altLang="zh-CN" sz="2400" dirty="0">
                <a:solidFill>
                  <a:srgbClr val="FF0000"/>
                </a:solidFill>
                <a:hlinkClick r:id="rId3"/>
              </a:rPr>
              <a:t>CBD</a:t>
            </a:r>
            <a:r>
              <a:rPr lang="zh-CN" altLang="en-US" sz="2400" dirty="0"/>
              <a:t>的珠江新城，正承擔著廣州</a:t>
            </a:r>
            <a:r>
              <a:rPr lang="zh-CN" altLang="en-US" sz="2400" dirty="0">
                <a:hlinkClick r:id="rId4"/>
              </a:rPr>
              <a:t>總部經濟</a:t>
            </a:r>
            <a:r>
              <a:rPr lang="zh-CN" altLang="en-US" sz="2400" dirty="0"/>
              <a:t>核心的地位和責任。珠江新城是廣州中心商務區的組成部分，同時也是中央承認的三個國家級</a:t>
            </a:r>
            <a:r>
              <a:rPr lang="zh-CN" altLang="en-US" sz="2400" dirty="0">
                <a:hlinkClick r:id="rId5"/>
              </a:rPr>
              <a:t>中央商務區</a:t>
            </a:r>
            <a:r>
              <a:rPr lang="zh-CN" altLang="en-US" sz="2400" dirty="0"/>
              <a:t>之一</a:t>
            </a:r>
            <a:r>
              <a:rPr lang="zh-CN" altLang="en-US" sz="2400" dirty="0" smtClean="0"/>
              <a:t>。</a:t>
            </a:r>
            <a:endParaRPr lang="en-US" altLang="zh-CN" sz="2400" dirty="0" smtClean="0"/>
          </a:p>
          <a:p>
            <a:r>
              <a:rPr lang="zh-CN" altLang="en-US" sz="2400" b="1" dirty="0" smtClean="0">
                <a:solidFill>
                  <a:srgbClr val="FF0000"/>
                </a:solidFill>
              </a:rPr>
              <a:t>廣州新圖書館：</a:t>
            </a:r>
            <a:r>
              <a:rPr lang="zh-CN" altLang="en-US" sz="2400" dirty="0"/>
              <a:t>一座集學習閱讀、資訊交流、展覽講座等綜合文化功能和數字化網路服務為一體的現代化、大型、綜合性</a:t>
            </a:r>
            <a:r>
              <a:rPr lang="zh-CN" altLang="en-US" sz="2400" dirty="0">
                <a:hlinkClick r:id="rId6"/>
              </a:rPr>
              <a:t>公共圖書館</a:t>
            </a:r>
            <a:endParaRPr lang="zh-CN" altLang="en-US" sz="2400" dirty="0">
              <a:solidFill>
                <a:srgbClr val="FF0000"/>
              </a:solidFill>
            </a:endParaRPr>
          </a:p>
        </p:txBody>
      </p:sp>
      <p:pic>
        <p:nvPicPr>
          <p:cNvPr id="4" name="图片 3" descr="0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67544" y="4720580"/>
            <a:ext cx="3665984" cy="2137420"/>
          </a:xfrm>
          <a:prstGeom prst="rect">
            <a:avLst/>
          </a:prstGeom>
        </p:spPr>
      </p:pic>
      <p:pic>
        <p:nvPicPr>
          <p:cNvPr id="5" name="图片 4" descr="20140320140228-627912696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716016" y="4293096"/>
            <a:ext cx="3744416" cy="2470847"/>
          </a:xfrm>
          <a:prstGeom prst="rect">
            <a:avLst/>
          </a:prstGeom>
        </p:spPr>
      </p:pic>
    </p:spTree>
  </p:cSld>
  <p:clrMapOvr>
    <a:masterClrMapping/>
  </p:clrMapOvr>
  <p:transition>
    <p:wheel spokes="3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第一天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43035" y="1417638"/>
            <a:ext cx="8229600" cy="4525963"/>
          </a:xfrm>
        </p:spPr>
        <p:txBody>
          <a:bodyPr>
            <a:normAutofit/>
          </a:bodyPr>
          <a:lstStyle/>
          <a:p>
            <a:r>
              <a:rPr lang="zh-CN" altLang="en-US" sz="2400" b="1" dirty="0" smtClean="0">
                <a:solidFill>
                  <a:srgbClr val="FF0000"/>
                </a:solidFill>
              </a:rPr>
              <a:t>廣州塔：</a:t>
            </a:r>
            <a:r>
              <a:rPr lang="zh-TW" altLang="en-US" sz="2400" dirty="0" smtClean="0"/>
              <a:t>廣州塔位於廣州市中心，城市新中軸線與珠江景觀軸交匯處， 與</a:t>
            </a:r>
            <a:r>
              <a:rPr lang="zh-CN" altLang="en-US" sz="2400" dirty="0" smtClean="0">
                <a:hlinkClick r:id="rId3"/>
              </a:rPr>
              <a:t>海心</a:t>
            </a:r>
            <a:r>
              <a:rPr lang="zh-CN" altLang="en-US" sz="2400" dirty="0" smtClean="0"/>
              <a:t>沙島和廣州市</a:t>
            </a:r>
            <a:r>
              <a:rPr lang="en-US" altLang="zh-CN" sz="2400" dirty="0" smtClean="0"/>
              <a:t>21</a:t>
            </a:r>
            <a:r>
              <a:rPr lang="zh-CN" altLang="en-US" sz="2400" dirty="0" smtClean="0"/>
              <a:t>世紀</a:t>
            </a:r>
            <a:r>
              <a:rPr lang="en-US" altLang="zh-CN" sz="2400" dirty="0" smtClean="0"/>
              <a:t>CBD</a:t>
            </a:r>
            <a:r>
              <a:rPr lang="zh-TW" altLang="en-US" sz="2400" dirty="0" smtClean="0"/>
              <a:t>區珠江新城隔江相望。廣州塔有</a:t>
            </a:r>
            <a:r>
              <a:rPr lang="en-US" altLang="zh-CN" sz="2400" dirty="0" smtClean="0"/>
              <a:t>5</a:t>
            </a:r>
            <a:r>
              <a:rPr lang="zh-CN" altLang="en-US" sz="2400" dirty="0" smtClean="0"/>
              <a:t>個功能區</a:t>
            </a:r>
            <a:r>
              <a:rPr lang="zh-TW" altLang="en-US" sz="2400" dirty="0" smtClean="0"/>
              <a:t>和多種遊樂設施，包括</a:t>
            </a:r>
            <a:r>
              <a:rPr lang="en-US" altLang="zh-CN" sz="2400" dirty="0" smtClean="0"/>
              <a:t>488m</a:t>
            </a:r>
            <a:r>
              <a:rPr lang="zh-TW" altLang="en-US" sz="2400" dirty="0" smtClean="0"/>
              <a:t>的世界最高的世界觀景平臺、高空橫向摩天輪，</a:t>
            </a:r>
            <a:r>
              <a:rPr lang="zh-CN" altLang="en-US" sz="2400" dirty="0" smtClean="0">
                <a:hlinkClick r:id="rId4"/>
              </a:rPr>
              <a:t>速降</a:t>
            </a:r>
            <a:r>
              <a:rPr lang="zh-TW" altLang="en-US" sz="2400" dirty="0" smtClean="0"/>
              <a:t>體驗極限遊樂項目，有</a:t>
            </a:r>
            <a:r>
              <a:rPr lang="en-US" altLang="zh-CN" sz="2400" dirty="0" smtClean="0"/>
              <a:t>4</a:t>
            </a:r>
            <a:r>
              <a:rPr lang="zh-TW" altLang="en-US" sz="2400" dirty="0" smtClean="0"/>
              <a:t>個觀光大廳，有懸空走廊，蜘蛛俠棧道，</a:t>
            </a:r>
            <a:r>
              <a:rPr lang="en-US" altLang="zh-CN" sz="2400" dirty="0" smtClean="0"/>
              <a:t>4D</a:t>
            </a:r>
            <a:r>
              <a:rPr lang="zh-CN" altLang="en-US" sz="2400" dirty="0"/>
              <a:t>和</a:t>
            </a:r>
            <a:r>
              <a:rPr lang="en-US" altLang="zh-CN" sz="2400" dirty="0" smtClean="0"/>
              <a:t>3D</a:t>
            </a:r>
            <a:r>
              <a:rPr lang="zh-TW" altLang="en-US" sz="2400" dirty="0" smtClean="0"/>
              <a:t>動感影院，中西美食，會展設施，購物商場及科普展示廳，旅遊設施一應俱全。</a:t>
            </a:r>
            <a:endParaRPr lang="zh-CN" altLang="en-US" sz="2400" dirty="0">
              <a:solidFill>
                <a:srgbClr val="FF0000"/>
              </a:solidFill>
            </a:endParaRPr>
          </a:p>
        </p:txBody>
      </p:sp>
      <p:pic>
        <p:nvPicPr>
          <p:cNvPr id="4" name="图片 3" descr="20140516164544-444561374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453734" y="4149080"/>
            <a:ext cx="2393910" cy="2564904"/>
          </a:xfrm>
          <a:prstGeom prst="rect">
            <a:avLst/>
          </a:prstGeom>
        </p:spPr>
      </p:pic>
      <p:pic>
        <p:nvPicPr>
          <p:cNvPr id="5" name="图片 4" descr="20140516164627-1254857174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6496880" y="4077072"/>
            <a:ext cx="2495298" cy="2636912"/>
          </a:xfrm>
          <a:prstGeom prst="rect">
            <a:avLst/>
          </a:prstGeom>
        </p:spPr>
      </p:pic>
    </p:spTree>
  </p:cSld>
  <p:clrMapOvr>
    <a:masterClrMapping/>
  </p:clrMapOvr>
  <p:transition>
    <p:wheel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第一天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None/>
            </a:pPr>
            <a:r>
              <a:rPr lang="en-US" altLang="zh-CN" dirty="0" smtClean="0">
                <a:sym typeface="Wingdings" panose="05000000000000000000" pitchFamily="2" charset="2"/>
              </a:rPr>
              <a:t></a:t>
            </a:r>
            <a:r>
              <a:rPr lang="zh-CN" altLang="en-US" dirty="0" smtClean="0"/>
              <a:t>離開花</a:t>
            </a:r>
            <a:r>
              <a:rPr lang="zh-CN" altLang="en-US" dirty="0" smtClean="0"/>
              <a:t>城</a:t>
            </a:r>
            <a:r>
              <a:rPr lang="zh-TW" altLang="en-US" dirty="0" smtClean="0"/>
              <a:t>，</a:t>
            </a:r>
            <a:r>
              <a:rPr lang="zh-CN" altLang="en-US" dirty="0" smtClean="0"/>
              <a:t>去</a:t>
            </a:r>
            <a:r>
              <a:rPr lang="zh-CN" altLang="en-US" dirty="0" smtClean="0"/>
              <a:t>到家樂福購買</a:t>
            </a:r>
            <a:r>
              <a:rPr lang="zh-CN" altLang="en-US" dirty="0" smtClean="0"/>
              <a:t>物品</a:t>
            </a:r>
            <a:r>
              <a:rPr lang="zh-TW" altLang="en-US" dirty="0"/>
              <a:t>，</a:t>
            </a:r>
            <a:r>
              <a:rPr lang="zh-CN" altLang="en-US" dirty="0" smtClean="0"/>
              <a:t>感受</a:t>
            </a:r>
            <a:r>
              <a:rPr lang="zh-CN" altLang="en-US" dirty="0" smtClean="0"/>
              <a:t>廣州經濟發展的迅速。</a:t>
            </a:r>
            <a:endParaRPr lang="en-US" altLang="zh-CN" dirty="0" smtClean="0"/>
          </a:p>
          <a:p>
            <a:pPr>
              <a:buNone/>
            </a:pPr>
            <a:endParaRPr lang="en-US" altLang="zh-CN" dirty="0" smtClean="0"/>
          </a:p>
          <a:p>
            <a:pPr>
              <a:buNone/>
            </a:pPr>
            <a:r>
              <a:rPr lang="en-US" altLang="zh-CN" dirty="0" smtClean="0">
                <a:sym typeface="Wingdings" panose="05000000000000000000" pitchFamily="2" charset="2"/>
              </a:rPr>
              <a:t></a:t>
            </a:r>
            <a:r>
              <a:rPr lang="zh-CN" altLang="en-US" dirty="0" smtClean="0"/>
              <a:t>去到餐廳吃完</a:t>
            </a:r>
            <a:r>
              <a:rPr lang="zh-CN" altLang="en-US" dirty="0" smtClean="0"/>
              <a:t>晚飯</a:t>
            </a:r>
            <a:r>
              <a:rPr lang="zh-TW" altLang="en-US" dirty="0"/>
              <a:t>，</a:t>
            </a:r>
            <a:r>
              <a:rPr lang="zh-CN" altLang="en-US" dirty="0" smtClean="0"/>
              <a:t>入</a:t>
            </a:r>
            <a:r>
              <a:rPr lang="zh-CN" altLang="en-US" dirty="0" smtClean="0"/>
              <a:t>住酒店。</a:t>
            </a:r>
            <a:endParaRPr lang="en-US" altLang="zh-CN" dirty="0" smtClean="0"/>
          </a:p>
          <a:p>
            <a:pPr>
              <a:buNone/>
            </a:pPr>
            <a:endParaRPr lang="en-US" altLang="zh-CN" dirty="0" smtClean="0"/>
          </a:p>
          <a:p>
            <a:pPr>
              <a:buNone/>
            </a:pPr>
            <a:r>
              <a:rPr lang="en-US" altLang="zh-CN" dirty="0" smtClean="0">
                <a:sym typeface="Wingdings" panose="05000000000000000000" pitchFamily="2" charset="2"/>
              </a:rPr>
              <a:t></a:t>
            </a:r>
            <a:r>
              <a:rPr lang="zh-CN" altLang="en-US" dirty="0" smtClean="0"/>
              <a:t>走火警和開反思</a:t>
            </a:r>
            <a:r>
              <a:rPr lang="zh-CN" altLang="en-US" dirty="0" smtClean="0"/>
              <a:t>會</a:t>
            </a:r>
            <a:r>
              <a:rPr lang="zh-TW" altLang="en-US" dirty="0"/>
              <a:t>，</a:t>
            </a:r>
            <a:r>
              <a:rPr lang="zh-CN" altLang="en-US" dirty="0" smtClean="0"/>
              <a:t>受益</a:t>
            </a:r>
            <a:r>
              <a:rPr lang="zh-CN" altLang="en-US" dirty="0" smtClean="0"/>
              <a:t>良多。</a:t>
            </a:r>
            <a:endParaRPr lang="zh-CN" altLang="en-US" dirty="0"/>
          </a:p>
        </p:txBody>
      </p:sp>
    </p:spTree>
  </p:cSld>
  <p:clrMapOvr>
    <a:masterClrMapping/>
  </p:clrMapOvr>
  <p:transition>
    <p:wheel spokes="8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學習重點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zh-CN" altLang="en-US" sz="2600" dirty="0" smtClean="0"/>
              <a:t>創意及科技企業：</a:t>
            </a:r>
            <a:r>
              <a:rPr lang="zh-CN" altLang="en-US" sz="2600" dirty="0" smtClean="0">
                <a:solidFill>
                  <a:srgbClr val="FF0000"/>
                </a:solidFill>
              </a:rPr>
              <a:t>瞭解創意或科技產業的發展及成效，如何推動經濟發展。</a:t>
            </a:r>
            <a:endParaRPr lang="en-US" altLang="zh-CN" sz="2600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US" altLang="zh-CN" sz="2600" dirty="0" smtClean="0">
              <a:solidFill>
                <a:srgbClr val="FF0000"/>
              </a:solidFill>
            </a:endParaRPr>
          </a:p>
          <a:p>
            <a:r>
              <a:rPr lang="zh-CN" altLang="en-US" sz="2600" dirty="0" smtClean="0"/>
              <a:t>珠江新城，花城廣場和廣州塔：</a:t>
            </a:r>
            <a:r>
              <a:rPr lang="zh-CN" altLang="en-US" sz="2600" dirty="0" smtClean="0">
                <a:solidFill>
                  <a:srgbClr val="FF0000"/>
                </a:solidFill>
              </a:rPr>
              <a:t>瞭解商業中心區的概念，探討它們對城市經濟發展的作用及對廣州市民的影響</a:t>
            </a:r>
            <a:r>
              <a:rPr lang="zh-CN" altLang="en-US" sz="2600" dirty="0" smtClean="0"/>
              <a:t>。</a:t>
            </a:r>
            <a:endParaRPr lang="zh-CN" altLang="en-US" sz="2600" dirty="0"/>
          </a:p>
        </p:txBody>
      </p:sp>
    </p:spTree>
  </p:cSld>
  <p:clrMapOvr>
    <a:masterClrMapping/>
  </p:clrMapOvr>
  <p:transition>
    <p:wipe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altLang="zh-CN" dirty="0"/>
              <a:t>第二天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23528" y="1268760"/>
            <a:ext cx="8229600" cy="4525963"/>
          </a:xfrm>
        </p:spPr>
        <p:txBody>
          <a:bodyPr>
            <a:normAutofit/>
          </a:bodyPr>
          <a:lstStyle/>
          <a:p>
            <a:r>
              <a:rPr lang="zh-CN" altLang="en-US" sz="2400" b="1" dirty="0">
                <a:solidFill>
                  <a:srgbClr val="FF0000"/>
                </a:solidFill>
              </a:rPr>
              <a:t>廣州工業技術人員培訓學校</a:t>
            </a:r>
            <a:r>
              <a:rPr lang="zh-CN" altLang="en-US" sz="2400" dirty="0">
                <a:solidFill>
                  <a:srgbClr val="FF0000"/>
                </a:solidFill>
              </a:rPr>
              <a:t>：</a:t>
            </a:r>
            <a:r>
              <a:rPr lang="zh-CN" altLang="en-US" sz="2400" dirty="0"/>
              <a:t>學校堅持“面向旅遊業，服務旅遊業”的辦學指導思想，圍繞“為終身發展奠基，為幸福人生就業”的辦學定位，可见此校的优良学风，長期實踐產教融合的旅遊人才培養模式。牽頭成立廣東旅遊職教集團，行業、企業，並建立起以珠三角為中心、輻射港澳和北京、上海的實習就業網路，並開闢了赴美國、加拿大、新加坡、日本，實習就業的途徑，還可以學到不少東西。</a:t>
            </a:r>
          </a:p>
        </p:txBody>
      </p:sp>
      <p:pic>
        <p:nvPicPr>
          <p:cNvPr id="4" name="图片 3" descr="571c2207166884d253f8269d8a89d7b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2080" y="4221088"/>
            <a:ext cx="3473544" cy="2316174"/>
          </a:xfrm>
          <a:prstGeom prst="rect">
            <a:avLst/>
          </a:prstGeom>
        </p:spPr>
      </p:pic>
      <p:pic>
        <p:nvPicPr>
          <p:cNvPr id="5" name="图片 4" descr="206127f991615320ce6dd63761e7c38a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4953" y="4508542"/>
            <a:ext cx="3872026" cy="2111953"/>
          </a:xfrm>
          <a:prstGeom prst="rect">
            <a:avLst/>
          </a:prstGeom>
        </p:spPr>
      </p:pic>
    </p:spTree>
  </p:cSld>
  <p:clrMapOvr>
    <a:masterClrMapping/>
  </p:clrMapOvr>
  <p:transition>
    <p:pull dir="ld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5605" y="260668"/>
            <a:ext cx="7776000" cy="1143000"/>
          </a:xfrm>
        </p:spPr>
        <p:txBody>
          <a:bodyPr/>
          <a:lstStyle/>
          <a:p>
            <a:r>
              <a:rPr lang="zh-CN" altLang="en-US" dirty="0"/>
              <a:t>第二天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sz="2400" b="1" dirty="0">
                <a:solidFill>
                  <a:srgbClr val="FF0000"/>
                </a:solidFill>
              </a:rPr>
              <a:t>參觀國有重工業企業：</a:t>
            </a:r>
            <a:r>
              <a:rPr lang="zh-CN" altLang="en-US" sz="2400" dirty="0"/>
              <a:t>在很多消費者心目中，外國品牌，他們會優先選購外國品牌汽車。實際上，時至今日，以傳祺為代表的中國品牌汽車在品質、性能、設計上已不遜於合資汽車。由此我們看到了廣州企業進一步的發展。</a:t>
            </a:r>
          </a:p>
        </p:txBody>
      </p:sp>
      <p:pic>
        <p:nvPicPr>
          <p:cNvPr id="4" name="图片 3" descr="20160615105153_76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3895" y="3717290"/>
            <a:ext cx="4154805" cy="2751455"/>
          </a:xfrm>
          <a:prstGeom prst="rect">
            <a:avLst/>
          </a:prstGeom>
        </p:spPr>
      </p:pic>
      <p:pic>
        <p:nvPicPr>
          <p:cNvPr id="5" name="图片 4" descr="20160615105226_86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20335" y="3717290"/>
            <a:ext cx="3277235" cy="2691130"/>
          </a:xfrm>
          <a:prstGeom prst="rect">
            <a:avLst/>
          </a:prstGeom>
        </p:spPr>
      </p:pic>
    </p:spTree>
  </p:cSld>
  <p:clrMapOvr>
    <a:masterClrMapping/>
  </p:clrMapOvr>
  <p:transition>
    <p:pull dir="rd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zh-CN" altLang="en-US"/>
              <a:t>第二天 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/>
              <a:t>回到深圳</a:t>
            </a:r>
          </a:p>
          <a:p>
            <a:r>
              <a:rPr lang="zh-CN" altLang="en-US"/>
              <a:t>過關回到香港</a:t>
            </a:r>
          </a:p>
          <a:p>
            <a:r>
              <a:rPr lang="zh-CN" altLang="en-US"/>
              <a:t>下午</a:t>
            </a:r>
            <a:r>
              <a:rPr lang="en-US" altLang="zh-CN"/>
              <a:t>6</a:t>
            </a:r>
            <a:r>
              <a:rPr lang="zh-CN" altLang="en-US"/>
              <a:t>：</a:t>
            </a:r>
            <a:r>
              <a:rPr lang="en-US" altLang="zh-CN"/>
              <a:t>00</a:t>
            </a:r>
            <a:r>
              <a:rPr lang="zh-CN" altLang="en-US"/>
              <a:t>解散</a:t>
            </a:r>
          </a:p>
          <a:p>
            <a:r>
              <a:rPr lang="zh-CN" altLang="en-US"/>
              <a:t>廣州經濟考察結束</a:t>
            </a:r>
          </a:p>
        </p:txBody>
      </p:sp>
    </p:spTree>
  </p:cSld>
  <p:clrMapOvr>
    <a:masterClrMapping/>
  </p:clrMapOvr>
  <p:transition>
    <p:wedg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TEMPLATE_CATEGORY" val="custom"/>
  <p:tag name="KSO_WM_TEMPLATE_INDEX" val="48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118165158"/>
  <p:tag name="MH_LIBRARY" val="GRAPHIC"/>
  <p:tag name="MH_ORDER" val="Oval 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118165158"/>
  <p:tag name="MH_LIBRARY" val="GRAPHIC"/>
  <p:tag name="MH_ORDER" val="Freeform 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118165158"/>
  <p:tag name="MH_LIBRARY" val="GRAPHIC"/>
  <p:tag name="MH_ORDER" val="Oval 1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118165158"/>
  <p:tag name="MH_LIBRARY" val="GRAPHIC"/>
  <p:tag name="MH_ORDER" val="Freeform 1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118165158"/>
  <p:tag name="MH_LIBRARY" val="GRAPHIC"/>
  <p:tag name="MH_ORDER" val="Oval 1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118165158"/>
  <p:tag name="MH_LIBRARY" val="GRAPHIC"/>
  <p:tag name="MH_ORDER" val="Freeform 3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118165158"/>
  <p:tag name="MH_LIBRARY" val="GRAPHIC"/>
  <p:tag name="MH_ORDER" val="Oval 3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EMPLATE_THUMBS_INDEX" val="1、4、5、11、12、15、22、25、27、28、29"/>
  <p:tag name="KSO_WM_TEMPLATE_CATEGORY" val="custom"/>
  <p:tag name="KSO_WM_TEMPLATE_INDEX" val="499"/>
  <p:tag name="KSO_WM_TAG_VERSION" val="1.0"/>
  <p:tag name="KSO_WM_SLIDE_ID" val="custom499_1"/>
  <p:tag name="KSO_WM_SLIDE_INDEX" val="1"/>
  <p:tag name="KSO_WM_SLIDE_ITEM_CNT" val="2"/>
  <p:tag name="KSO_WM_SLIDE_LAYOUT" val="a_b"/>
  <p:tag name="KSO_WM_SLIDE_LAYOUT_CNT" val="1_1"/>
  <p:tag name="KSO_WM_SLIDE_TYPE" val="title"/>
  <p:tag name="KSO_WM_BEAUTIFY_FLAG" val="#wm#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499"/>
  <p:tag name="KSO_WM_UNIT_TYPE" val="a"/>
  <p:tag name="KSO_WM_UNIT_INDEX" val="1"/>
  <p:tag name="KSO_WM_UNIT_ID" val="custom499_1*a*1"/>
  <p:tag name="KSO_WM_UNIT_CLEAR" val="1"/>
  <p:tag name="KSO_WM_UNIT_LAYERLEVEL" val="1"/>
  <p:tag name="KSO_WM_UNIT_VALUE" val="26"/>
  <p:tag name="KSO_WM_UNIT_ISCONTENTSTITLE" val="0"/>
  <p:tag name="KSO_WM_UNIT_HIGHLIGHT" val="0"/>
  <p:tag name="KSO_WM_UNIT_COMPATIBLE" val="0"/>
  <p:tag name="KSO_WM_UNIT_PRESET_TEXT_INDEX" val="3"/>
  <p:tag name="KSO_WM_UNIT_PRESET_TEXT_LEN" val="2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499"/>
  <p:tag name="KSO_WM_UNIT_TYPE" val="b"/>
  <p:tag name="KSO_WM_UNIT_INDEX" val="1"/>
  <p:tag name="KSO_WM_UNIT_ID" val="custom499_1*b*1"/>
  <p:tag name="KSO_WM_UNIT_CLEAR" val="1"/>
  <p:tag name="KSO_WM_UNIT_LAYERLEVEL" val="1"/>
  <p:tag name="KSO_WM_UNIT_VALUE" val="58"/>
  <p:tag name="KSO_WM_UNIT_ISCONTENTSTITLE" val="0"/>
  <p:tag name="KSO_WM_UNIT_HIGHLIGHT" val="0"/>
  <p:tag name="KSO_WM_UNIT_COMPATIBLE" val="0"/>
  <p:tag name="KSO_WM_UNIT_PRESET_TEXT_INDEX" val="3"/>
  <p:tag name="KSO_WM_UNIT_PRESET_TEXT_LEN" val="2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TEMPLATE_CATEGORY" val="custom"/>
  <p:tag name="KSO_WM_TEMPLATE_INDEX" val="486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118165158"/>
  <p:tag name="MH_LIBRARY" val="GRAPHIC"/>
  <p:tag name="KSO_WM_TEMPLATE_CATEGORY" val="custom"/>
  <p:tag name="KSO_WM_TEMPLATE_INDEX" val="499"/>
  <p:tag name="KSO_WM_TAG_VERSION" val="1.0"/>
  <p:tag name="KSO_WM_SLIDE_ID" val="custom499_29"/>
  <p:tag name="KSO_WM_SLIDE_INDEX" val="29"/>
  <p:tag name="KSO_WM_SLIDE_ITEM_CNT" val="1"/>
  <p:tag name="KSO_WM_SLIDE_LAYOUT" val="b"/>
  <p:tag name="KSO_WM_SLIDE_LAYOUT_CNT" val="1"/>
  <p:tag name="KSO_WM_SLIDE_TYPE" val="endPage"/>
  <p:tag name="KSO_WM_BEAUTIFY_FLAG" val="#wm#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118165158"/>
  <p:tag name="MH_LIBRARY" val="GRAPHIC"/>
  <p:tag name="MH_ORDER" val="文本框 4"/>
  <p:tag name="KSO_WM_TAG_VERSION" val="1.0"/>
  <p:tag name="KSO_WM_BEAUTIFY_FLAG" val="#wm#"/>
  <p:tag name="KSO_WM_UNIT_TYPE" val="i"/>
  <p:tag name="KSO_WM_UNIT_ID" val="custom499_29*i*0"/>
  <p:tag name="KSO_WM_TEMPLATE_CATEGORY" val="custom"/>
  <p:tag name="KSO_WM_TEMPLATE_INDEX" val="499"/>
  <p:tag name="KSO_WM_UNIT_INDEX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118165158"/>
  <p:tag name="MH_LIBRARY" val="GRAPHIC"/>
  <p:tag name="MH_ORDER" val="文本框 9"/>
  <p:tag name="KSO_WM_TAG_VERSION" val="1.0"/>
  <p:tag name="KSO_WM_BEAUTIFY_FLAG" val="#wm#"/>
  <p:tag name="KSO_WM_UNIT_TYPE" val="i"/>
  <p:tag name="KSO_WM_UNIT_ID" val="custom499_29*i*1"/>
  <p:tag name="KSO_WM_TEMPLATE_CATEGORY" val="custom"/>
  <p:tag name="KSO_WM_TEMPLATE_INDEX" val="499"/>
  <p:tag name="KSO_WM_UNIT_INDEX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118165158"/>
  <p:tag name="MH_LIBRARY" val="GRAPHIC"/>
  <p:tag name="MH_ORDER" val="文本框 13"/>
  <p:tag name="KSO_WM_TAG_VERSION" val="1.0"/>
  <p:tag name="KSO_WM_BEAUTIFY_FLAG" val="#wm#"/>
  <p:tag name="KSO_WM_UNIT_TYPE" val="i"/>
  <p:tag name="KSO_WM_UNIT_ID" val="custom499_29*i*2"/>
  <p:tag name="KSO_WM_TEMPLATE_CATEGORY" val="custom"/>
  <p:tag name="KSO_WM_TEMPLATE_INDEX" val="499"/>
  <p:tag name="KSO_WM_UNIT_INDEX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118165158"/>
  <p:tag name="MH_LIBRARY" val="GRAPHIC"/>
  <p:tag name="MH_ORDER" val="TextBox 34"/>
  <p:tag name="KSO_WM_TAG_VERSION" val="1.0"/>
  <p:tag name="KSO_WM_BEAUTIFY_FLAG" val="#wm#"/>
  <p:tag name="KSO_WM_UNIT_TYPE" val="i"/>
  <p:tag name="KSO_WM_UNIT_ID" val="custom499_29*i*3"/>
  <p:tag name="KSO_WM_TEMPLATE_CATEGORY" val="custom"/>
  <p:tag name="KSO_WM_TEMPLATE_INDEX" val="499"/>
  <p:tag name="KSO_WM_UNIT_INDEX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BEAUTIFY_FLAG" val="#wm#"/>
  <p:tag name="KSO_WM_TEMPLATE_CATEGORY" val="custom"/>
  <p:tag name="KSO_WM_TEMPLATE_INDEX" val="499"/>
  <p:tag name="KSO_WM_UNIT_TYPE" val="b"/>
  <p:tag name="KSO_WM_UNIT_INDEX" val="1"/>
  <p:tag name="KSO_WM_UNIT_ID" val="custom499_29*b*1"/>
  <p:tag name="KSO_WM_UNIT_CLEAR" val="1"/>
  <p:tag name="KSO_WM_UNIT_LAYERLEVEL" val="1"/>
  <p:tag name="KSO_WM_UNIT_VALUE" val="22"/>
  <p:tag name="KSO_WM_UNIT_ISCONTENTSTITLE" val="0"/>
  <p:tag name="KSO_WM_UNIT_HIGHLIGHT" val="0"/>
  <p:tag name="KSO_WM_UNIT_COMPATIBLE" val="0"/>
  <p:tag name="KSO_WM_UNIT_PRESET_TEXT" val="THANK YOU FOR YOUR ATTENTION!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2AtS4n7US9rc067E70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5nK8I1BUmTH5Wq3vKe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TEMPLATE_CATEGORY" val="custom"/>
  <p:tag name="KSO_WM_TEMPLATE_INDEX" val="499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TAG_VERSION" val="1.0"/>
  <p:tag name="KSO_WM_TEMPLATE_CATEGORY" val="custom"/>
  <p:tag name="KSO_WM_TEMPLATE_INDEX" val="49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118165158"/>
  <p:tag name="MH_LIBRARY" val="GRAPHIC"/>
  <p:tag name="MH_ORDER" val="Straight Connector 3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118165158"/>
  <p:tag name="MH_LIBRARY" val="GRAPHIC"/>
  <p:tag name="MH_ORDER" val="Straight Connector 36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1118165158"/>
  <p:tag name="MH_LIBRARY" val="GRAPHIC"/>
  <p:tag name="MH_ORDER" val="Freeform 3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凤舞九天">
  <a:themeElements>
    <a:clrScheme name="凤舞九天">
      <a:dk1>
        <a:sysClr val="windowText" lastClr="000000"/>
      </a:dk1>
      <a:lt1>
        <a:sysClr val="window" lastClr="FFFFFF"/>
      </a:lt1>
      <a:dk2>
        <a:srgbClr val="004646"/>
      </a:dk2>
      <a:lt2>
        <a:srgbClr val="E1F0FF"/>
      </a:lt2>
      <a:accent1>
        <a:srgbClr val="50742F"/>
      </a:accent1>
      <a:accent2>
        <a:srgbClr val="268868"/>
      </a:accent2>
      <a:accent3>
        <a:srgbClr val="33BD56"/>
      </a:accent3>
      <a:accent4>
        <a:srgbClr val="4BC5B9"/>
      </a:accent4>
      <a:accent5>
        <a:srgbClr val="3163CA"/>
      </a:accent5>
      <a:accent6>
        <a:srgbClr val="4B14AA"/>
      </a:accent6>
      <a:hlink>
        <a:srgbClr val="D9BE02"/>
      </a:hlink>
      <a:folHlink>
        <a:srgbClr val="F900F9"/>
      </a:folHlink>
    </a:clrScheme>
    <a:fontScheme name="凤舞九天">
      <a:majorFont>
        <a:latin typeface="Footlight MT Light"/>
        <a:ea typeface=""/>
        <a:cs typeface=""/>
        <a:font script="Jpan" typeface="ＭＳ Ｐゴシック"/>
        <a:font script="Hang" typeface="맑은 고딕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Goudy Old Style"/>
        <a:ea typeface=""/>
        <a:cs typeface=""/>
        <a:font script="Jpan" typeface="ＭＳ Ｐ明朝"/>
        <a:font script="Hang" typeface="HY견명조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凤舞九天">
      <a:fillStyleLst>
        <a:solidFill>
          <a:schemeClr val="phClr">
            <a:tint val="100000"/>
            <a:shade val="100000"/>
            <a:hueMod val="100000"/>
            <a:satMod val="100000"/>
          </a:schemeClr>
        </a:solidFill>
        <a:gradFill rotWithShape="1">
          <a:gsLst>
            <a:gs pos="0">
              <a:schemeClr val="phClr">
                <a:tint val="65000"/>
                <a:satMod val="180000"/>
              </a:schemeClr>
            </a:gs>
            <a:gs pos="50000">
              <a:schemeClr val="phClr">
                <a:tint val="40000"/>
                <a:satMod val="175000"/>
              </a:schemeClr>
            </a:gs>
            <a:gs pos="100000">
              <a:schemeClr val="phClr">
                <a:tint val="65000"/>
                <a:satMod val="180000"/>
              </a:schemeClr>
            </a:gs>
          </a:gsLst>
          <a:lin ang="0" scaled="1"/>
        </a:gradFill>
        <a:gradFill rotWithShape="1">
          <a:gsLst>
            <a:gs pos="0">
              <a:schemeClr val="phClr">
                <a:shade val="38000"/>
                <a:satMod val="150000"/>
              </a:schemeClr>
            </a:gs>
            <a:gs pos="50000">
              <a:schemeClr val="phClr">
                <a:shade val="100000"/>
                <a:satMod val="100000"/>
              </a:schemeClr>
            </a:gs>
            <a:gs pos="100000">
              <a:schemeClr val="phClr">
                <a:shade val="38000"/>
                <a:satMod val="150000"/>
              </a:schemeClr>
            </a:gs>
          </a:gsLst>
          <a:lin ang="0" scaled="1"/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90500" dist="78600" dir="2700000" rotWithShape="0">
              <a:srgbClr val="000000">
                <a:alpha val="35500"/>
              </a:srgbClr>
            </a:outerShdw>
          </a:effectLst>
        </a:effectStyle>
        <a:effectStyle>
          <a:effectLst>
            <a:outerShdw blurRad="190500" dist="78600" dir="2700000" rotWithShape="0">
              <a:srgbClr val="000000">
                <a:alpha val="35500"/>
              </a:srgbClr>
            </a:outerShdw>
          </a:effectLst>
        </a:effectStyle>
        <a:effectStyle>
          <a:effectLst>
            <a:outerShdw blurRad="190500" dist="78600" dir="2700000" rotWithShape="0">
              <a:srgbClr val="000000">
                <a:alpha val="3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>
            <a:tint val="100000"/>
            <a:shade val="100000"/>
            <a:hueMod val="100000"/>
            <a:satMod val="100000"/>
          </a:schemeClr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00000"/>
              </a:schemeClr>
            </a:gs>
            <a:gs pos="100000">
              <a:schemeClr val="phClr">
                <a:shade val="15000"/>
                <a:satMod val="300000"/>
              </a:schemeClr>
            </a:gs>
          </a:gsLst>
          <a:path path="circle">
            <a:fillToRect l="10000" t="180000" r="1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100000"/>
                <a:shade val="70000"/>
                <a:hueMod val="100000"/>
                <a:satMod val="100000"/>
              </a:schemeClr>
              <a:schemeClr val="phClr">
                <a:tint val="90000"/>
                <a:shade val="100000"/>
                <a:hueMod val="100000"/>
                <a:satMod val="100000"/>
              </a:schemeClr>
            </a:duotone>
          </a:blip>
          <a:tile tx="0" ty="0" sx="50000" sy="50000" flip="x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">
  <a:themeElements>
    <a:clrScheme name="自定义 1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FF7450"/>
      </a:accent1>
      <a:accent2>
        <a:srgbClr val="01BFFF"/>
      </a:accent2>
      <a:accent3>
        <a:srgbClr val="FF3B77"/>
      </a:accent3>
      <a:accent4>
        <a:srgbClr val="FFC000"/>
      </a:accent4>
      <a:accent5>
        <a:srgbClr val="4C6062"/>
      </a:accent5>
      <a:accent6>
        <a:srgbClr val="6EA08A"/>
      </a:accent6>
      <a:hlink>
        <a:srgbClr val="7BCBC8"/>
      </a:hlink>
      <a:folHlink>
        <a:srgbClr val="3D4D67"/>
      </a:folHlink>
    </a:clrScheme>
    <a:fontScheme name="自定义 15">
      <a:majorFont>
        <a:latin typeface="Arial"/>
        <a:ea typeface="黑体"/>
        <a:cs typeface=""/>
      </a:majorFont>
      <a:minorFont>
        <a:latin typeface="Arial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向天歌稻壳儿模板23XIN - 副本">
  <a:themeElements>
    <a:clrScheme name="499.59">
      <a:dk1>
        <a:srgbClr val="FFFFFF"/>
      </a:dk1>
      <a:lt1>
        <a:srgbClr val="4B4B4B"/>
      </a:lt1>
      <a:dk2>
        <a:srgbClr val="FFFFFF"/>
      </a:dk2>
      <a:lt2>
        <a:srgbClr val="4B4B4B"/>
      </a:lt2>
      <a:accent1>
        <a:srgbClr val="FFB43B"/>
      </a:accent1>
      <a:accent2>
        <a:srgbClr val="F7977D"/>
      </a:accent2>
      <a:accent3>
        <a:srgbClr val="C7454B"/>
      </a:accent3>
      <a:accent4>
        <a:srgbClr val="9E7A9B"/>
      </a:accent4>
      <a:accent5>
        <a:srgbClr val="846069"/>
      </a:accent5>
      <a:accent6>
        <a:srgbClr val="417FDB"/>
      </a:accent6>
      <a:hlink>
        <a:srgbClr val="5699C2"/>
      </a:hlink>
      <a:folHlink>
        <a:srgbClr val="9FCE4A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hoenix</Template>
  <TotalTime>9</TotalTime>
  <Words>1293</Words>
  <Application>Microsoft Office PowerPoint</Application>
  <PresentationFormat>如螢幕大小 (4:3)</PresentationFormat>
  <Paragraphs>54</Paragraphs>
  <Slides>15</Slides>
  <Notes>3</Notes>
  <HiddenSlides>0</HiddenSlides>
  <MMClips>0</MMClips>
  <ScaleCrop>false</ScaleCrop>
  <HeadingPairs>
    <vt:vector size="6" baseType="variant">
      <vt:variant>
        <vt:lpstr>使用字型</vt:lpstr>
      </vt:variant>
      <vt:variant>
        <vt:i4>13</vt:i4>
      </vt:variant>
      <vt:variant>
        <vt:lpstr>佈景主題</vt:lpstr>
      </vt:variant>
      <vt:variant>
        <vt:i4>3</vt:i4>
      </vt:variant>
      <vt:variant>
        <vt:lpstr>投影片標題</vt:lpstr>
      </vt:variant>
      <vt:variant>
        <vt:i4>15</vt:i4>
      </vt:variant>
    </vt:vector>
  </HeadingPairs>
  <TitlesOfParts>
    <vt:vector size="31" baseType="lpstr">
      <vt:lpstr>微软雅黑</vt:lpstr>
      <vt:lpstr>黑体</vt:lpstr>
      <vt:lpstr>宋体</vt:lpstr>
      <vt:lpstr>华文新魏</vt:lpstr>
      <vt:lpstr>新細明體</vt:lpstr>
      <vt:lpstr>Arial</vt:lpstr>
      <vt:lpstr>Broadway</vt:lpstr>
      <vt:lpstr>Calibri</vt:lpstr>
      <vt:lpstr>Footlight MT Light</vt:lpstr>
      <vt:lpstr>Goudy Old Style</vt:lpstr>
      <vt:lpstr>Segoe UI</vt:lpstr>
      <vt:lpstr>Wingdings</vt:lpstr>
      <vt:lpstr>Wingdings 2</vt:lpstr>
      <vt:lpstr>凤舞九天</vt:lpstr>
      <vt:lpstr>1_Office 主题</vt:lpstr>
      <vt:lpstr>向天歌稻壳儿模板23XIN - 副本</vt:lpstr>
      <vt:lpstr>廣州及珠三角經濟發展考察團 </vt:lpstr>
      <vt:lpstr>第一天</vt:lpstr>
      <vt:lpstr>第一天</vt:lpstr>
      <vt:lpstr>第一天</vt:lpstr>
      <vt:lpstr>第一天</vt:lpstr>
      <vt:lpstr>學習重點</vt:lpstr>
      <vt:lpstr>第二天</vt:lpstr>
      <vt:lpstr>第二天</vt:lpstr>
      <vt:lpstr>第二天 </vt:lpstr>
      <vt:lpstr>組員感言-陳森亮</vt:lpstr>
      <vt:lpstr>組長感言-吳昱樹</vt:lpstr>
      <vt:lpstr>組員感言-魏泰俊</vt:lpstr>
      <vt:lpstr>組員感言-陳志超</vt:lpstr>
      <vt:lpstr>組員感言-陳昌正</vt:lpstr>
      <vt:lpstr>PowerPoint 簡報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广州及珠三角经济发展考察团</dc:title>
  <dc:creator>win</dc:creator>
  <cp:lastModifiedBy>岑漢明 </cp:lastModifiedBy>
  <cp:revision>14</cp:revision>
  <dcterms:created xsi:type="dcterms:W3CDTF">2016-06-26T00:49:00Z</dcterms:created>
  <dcterms:modified xsi:type="dcterms:W3CDTF">2016-07-14T01:38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5740</vt:lpwstr>
  </property>
</Properties>
</file>